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5"/>
    <p:sldMasterId id="2147483718" r:id="rId6"/>
  </p:sldMasterIdLst>
  <p:notesMasterIdLst>
    <p:notesMasterId r:id="rId22"/>
  </p:notesMasterIdLst>
  <p:handoutMasterIdLst>
    <p:handoutMasterId r:id="rId23"/>
  </p:handoutMasterIdLst>
  <p:sldIdLst>
    <p:sldId id="453" r:id="rId7"/>
    <p:sldId id="1238" r:id="rId8"/>
    <p:sldId id="1211" r:id="rId9"/>
    <p:sldId id="1236" r:id="rId10"/>
    <p:sldId id="1237" r:id="rId11"/>
    <p:sldId id="1240" r:id="rId12"/>
    <p:sldId id="1241" r:id="rId13"/>
    <p:sldId id="1244" r:id="rId14"/>
    <p:sldId id="1243" r:id="rId15"/>
    <p:sldId id="1247" r:id="rId16"/>
    <p:sldId id="1245" r:id="rId17"/>
    <p:sldId id="1248" r:id="rId18"/>
    <p:sldId id="1249" r:id="rId19"/>
    <p:sldId id="1193" r:id="rId20"/>
    <p:sldId id="1239" r:id="rId21"/>
  </p:sldIdLst>
  <p:sldSz cx="12192000" cy="6858000"/>
  <p:notesSz cx="6858000" cy="914400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nny Welle" initials="DW" lastIdx="1" clrIdx="0">
    <p:extLst>
      <p:ext uri="{19B8F6BF-5375-455C-9EA6-DF929625EA0E}">
        <p15:presenceInfo xmlns:p15="http://schemas.microsoft.com/office/powerpoint/2012/main" userId="S::denwelle1@publicisgroupe.net::08b00602-60fa-48c3-96fb-06a947b67cd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DC5853D-AC23-47BD-A462-B07CB2FB084E}" v="431" dt="2024-06-07T22:33:59.582"/>
  </p1510:revLst>
</p1510:revInfo>
</file>

<file path=ppt/tableStyles.xml><?xml version="1.0" encoding="utf-8"?>
<a:tblStyleLst xmlns:a="http://schemas.openxmlformats.org/drawingml/2006/main" def="{0E3FDE45-AF77-4B5C-9715-49D594BDF05E}"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  <a:insideH>
            <a:ln w="12700" cmpd="sng">
              <a:solidFill>
                <a:schemeClr val="accent6">
                  <a:alpha val="15000"/>
                </a:schemeClr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  <a:fill>
          <a:solidFill>
            <a:schemeClr val="accent6">
              <a:alpha val="5000"/>
            </a:schemeClr>
          </a:solidFill>
        </a:fill>
      </a:tcStyle>
    </a:band1H>
    <a:band2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</a:tcStyle>
    </a:band2H>
    <a:band1V>
      <a:tcStyle>
        <a:tcBdr/>
        <a:fill>
          <a:solidFill>
            <a:schemeClr val="accent6">
              <a:alpha val="5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lastRow>
    <a:fir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75" autoAdjust="0"/>
    <p:restoredTop sz="66627" autoAdjust="0"/>
  </p:normalViewPr>
  <p:slideViewPr>
    <p:cSldViewPr snapToGrid="0">
      <p:cViewPr>
        <p:scale>
          <a:sx n="75" d="100"/>
          <a:sy n="75" d="100"/>
        </p:scale>
        <p:origin x="1440" y="84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24" Type="http://schemas.openxmlformats.org/officeDocument/2006/relationships/tags" Target="tags/tag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microsoft.com/office/2015/10/relationships/revisionInfo" Target="revisionInfo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evraj, Keerthi (DI SW ICS ICV OS)" userId="a61e6969-d85e-42d5-913e-c7fe6fb96353" providerId="ADAL" clId="{37DB82A5-C483-491C-BAE0-407704EF08FB}"/>
    <pc:docChg chg="undo custSel addSld delSld modSld sldOrd">
      <pc:chgData name="Devraj, Keerthi (DI SW ICS ICV OS)" userId="a61e6969-d85e-42d5-913e-c7fe6fb96353" providerId="ADAL" clId="{37DB82A5-C483-491C-BAE0-407704EF08FB}" dt="2023-02-02T14:22:40.843" v="2732" actId="20577"/>
      <pc:docMkLst>
        <pc:docMk/>
      </pc:docMkLst>
      <pc:sldChg chg="modSp mod">
        <pc:chgData name="Devraj, Keerthi (DI SW ICS ICV OS)" userId="a61e6969-d85e-42d5-913e-c7fe6fb96353" providerId="ADAL" clId="{37DB82A5-C483-491C-BAE0-407704EF08FB}" dt="2023-01-26T09:29:22.041" v="30" actId="6549"/>
        <pc:sldMkLst>
          <pc:docMk/>
          <pc:sldMk cId="3044083358" sldId="268"/>
        </pc:sldMkLst>
        <pc:spChg chg="mod">
          <ac:chgData name="Devraj, Keerthi (DI SW ICS ICV OS)" userId="a61e6969-d85e-42d5-913e-c7fe6fb96353" providerId="ADAL" clId="{37DB82A5-C483-491C-BAE0-407704EF08FB}" dt="2023-01-26T09:29:22.041" v="30" actId="6549"/>
          <ac:spMkLst>
            <pc:docMk/>
            <pc:sldMk cId="3044083358" sldId="268"/>
            <ac:spMk id="3" creationId="{A8C0B1B3-7902-4A0F-A274-1F5878B8197A}"/>
          </ac:spMkLst>
        </pc:spChg>
      </pc:sldChg>
      <pc:sldChg chg="modSp mod">
        <pc:chgData name="Devraj, Keerthi (DI SW ICS ICV OS)" userId="a61e6969-d85e-42d5-913e-c7fe6fb96353" providerId="ADAL" clId="{37DB82A5-C483-491C-BAE0-407704EF08FB}" dt="2023-01-26T09:41:23.416" v="61" actId="20577"/>
        <pc:sldMkLst>
          <pc:docMk/>
          <pc:sldMk cId="4047077203" sldId="453"/>
        </pc:sldMkLst>
        <pc:spChg chg="mod">
          <ac:chgData name="Devraj, Keerthi (DI SW ICS ICV OS)" userId="a61e6969-d85e-42d5-913e-c7fe6fb96353" providerId="ADAL" clId="{37DB82A5-C483-491C-BAE0-407704EF08FB}" dt="2023-01-26T09:41:23.416" v="61" actId="20577"/>
          <ac:spMkLst>
            <pc:docMk/>
            <pc:sldMk cId="4047077203" sldId="453"/>
            <ac:spMk id="2" creationId="{3787DCDB-E649-4D88-9AEB-9F963E4B6158}"/>
          </ac:spMkLst>
        </pc:spChg>
        <pc:spChg chg="mod">
          <ac:chgData name="Devraj, Keerthi (DI SW ICS ICV OS)" userId="a61e6969-d85e-42d5-913e-c7fe6fb96353" providerId="ADAL" clId="{37DB82A5-C483-491C-BAE0-407704EF08FB}" dt="2023-01-26T09:29:11.021" v="29" actId="20577"/>
          <ac:spMkLst>
            <pc:docMk/>
            <pc:sldMk cId="4047077203" sldId="453"/>
            <ac:spMk id="3" creationId="{898CE0F1-5315-4EE2-B93D-C6DDDC77C5CC}"/>
          </ac:spMkLst>
        </pc:spChg>
      </pc:sldChg>
      <pc:sldChg chg="addSp delSp modSp mod ord">
        <pc:chgData name="Devraj, Keerthi (DI SW ICS ICV OS)" userId="a61e6969-d85e-42d5-913e-c7fe6fb96353" providerId="ADAL" clId="{37DB82A5-C483-491C-BAE0-407704EF08FB}" dt="2023-02-02T14:22:40.843" v="2732" actId="20577"/>
        <pc:sldMkLst>
          <pc:docMk/>
          <pc:sldMk cId="3120581012" sldId="480"/>
        </pc:sldMkLst>
        <pc:spChg chg="mod">
          <ac:chgData name="Devraj, Keerthi (DI SW ICS ICV OS)" userId="a61e6969-d85e-42d5-913e-c7fe6fb96353" providerId="ADAL" clId="{37DB82A5-C483-491C-BAE0-407704EF08FB}" dt="2023-01-26T10:34:04.122" v="1926" actId="20577"/>
          <ac:spMkLst>
            <pc:docMk/>
            <pc:sldMk cId="3120581012" sldId="480"/>
            <ac:spMk id="2" creationId="{C55C16BD-EA5C-4958-A62D-34A6BDF7811B}"/>
          </ac:spMkLst>
        </pc:spChg>
        <pc:spChg chg="mod">
          <ac:chgData name="Devraj, Keerthi (DI SW ICS ICV OS)" userId="a61e6969-d85e-42d5-913e-c7fe6fb96353" providerId="ADAL" clId="{37DB82A5-C483-491C-BAE0-407704EF08FB}" dt="2023-01-26T09:52:12.477" v="501"/>
          <ac:spMkLst>
            <pc:docMk/>
            <pc:sldMk cId="3120581012" sldId="480"/>
            <ac:spMk id="3" creationId="{55C01AAA-1817-4254-B80C-C74B17AF34C8}"/>
          </ac:spMkLst>
        </pc:spChg>
        <pc:spChg chg="add del mod">
          <ac:chgData name="Devraj, Keerthi (DI SW ICS ICV OS)" userId="a61e6969-d85e-42d5-913e-c7fe6fb96353" providerId="ADAL" clId="{37DB82A5-C483-491C-BAE0-407704EF08FB}" dt="2023-01-26T10:34:07.355" v="1927" actId="478"/>
          <ac:spMkLst>
            <pc:docMk/>
            <pc:sldMk cId="3120581012" sldId="480"/>
            <ac:spMk id="4" creationId="{F5980E3B-2734-2F3A-6EF7-B39254A7C20C}"/>
          </ac:spMkLst>
        </pc:spChg>
        <pc:spChg chg="add del mod">
          <ac:chgData name="Devraj, Keerthi (DI SW ICS ICV OS)" userId="a61e6969-d85e-42d5-913e-c7fe6fb96353" providerId="ADAL" clId="{37DB82A5-C483-491C-BAE0-407704EF08FB}" dt="2023-01-26T10:34:08.917" v="1928" actId="478"/>
          <ac:spMkLst>
            <pc:docMk/>
            <pc:sldMk cId="3120581012" sldId="480"/>
            <ac:spMk id="7" creationId="{0A303F43-A5E9-20E0-F730-889371318BC8}"/>
          </ac:spMkLst>
        </pc:spChg>
        <pc:spChg chg="del">
          <ac:chgData name="Devraj, Keerthi (DI SW ICS ICV OS)" userId="a61e6969-d85e-42d5-913e-c7fe6fb96353" providerId="ADAL" clId="{37DB82A5-C483-491C-BAE0-407704EF08FB}" dt="2023-01-26T09:42:03.326" v="93" actId="478"/>
          <ac:spMkLst>
            <pc:docMk/>
            <pc:sldMk cId="3120581012" sldId="480"/>
            <ac:spMk id="12" creationId="{211B4C49-5CA1-4573-90AC-A842213C3A72}"/>
          </ac:spMkLst>
        </pc:spChg>
        <pc:spChg chg="del">
          <ac:chgData name="Devraj, Keerthi (DI SW ICS ICV OS)" userId="a61e6969-d85e-42d5-913e-c7fe6fb96353" providerId="ADAL" clId="{37DB82A5-C483-491C-BAE0-407704EF08FB}" dt="2023-01-26T09:42:09.181" v="95" actId="478"/>
          <ac:spMkLst>
            <pc:docMk/>
            <pc:sldMk cId="3120581012" sldId="480"/>
            <ac:spMk id="67" creationId="{CEA36EDD-72FE-45CF-B714-97A3DBB6E09F}"/>
          </ac:spMkLst>
        </pc:spChg>
        <pc:spChg chg="del">
          <ac:chgData name="Devraj, Keerthi (DI SW ICS ICV OS)" userId="a61e6969-d85e-42d5-913e-c7fe6fb96353" providerId="ADAL" clId="{37DB82A5-C483-491C-BAE0-407704EF08FB}" dt="2023-01-26T09:42:05.614" v="94" actId="478"/>
          <ac:spMkLst>
            <pc:docMk/>
            <pc:sldMk cId="3120581012" sldId="480"/>
            <ac:spMk id="80" creationId="{DF201288-C4EA-42A5-B33D-C1DE3DAB29F0}"/>
          </ac:spMkLst>
        </pc:spChg>
        <pc:grpChg chg="del">
          <ac:chgData name="Devraj, Keerthi (DI SW ICS ICV OS)" userId="a61e6969-d85e-42d5-913e-c7fe6fb96353" providerId="ADAL" clId="{37DB82A5-C483-491C-BAE0-407704EF08FB}" dt="2023-01-26T09:42:05.614" v="94" actId="478"/>
          <ac:grpSpMkLst>
            <pc:docMk/>
            <pc:sldMk cId="3120581012" sldId="480"/>
            <ac:grpSpMk id="11" creationId="{D00FD745-7C57-401A-8263-E9AD7A625A20}"/>
          </ac:grpSpMkLst>
        </pc:grpChg>
        <pc:graphicFrameChg chg="add mod modGraphic">
          <ac:chgData name="Devraj, Keerthi (DI SW ICS ICV OS)" userId="a61e6969-d85e-42d5-913e-c7fe6fb96353" providerId="ADAL" clId="{37DB82A5-C483-491C-BAE0-407704EF08FB}" dt="2023-02-02T14:22:40.843" v="2732" actId="20577"/>
          <ac:graphicFrameMkLst>
            <pc:docMk/>
            <pc:sldMk cId="3120581012" sldId="480"/>
            <ac:graphicFrameMk id="9" creationId="{C8984AF6-52F3-434C-398D-45C118BA864A}"/>
          </ac:graphicFrameMkLst>
        </pc:graphicFrameChg>
        <pc:cxnChg chg="mod">
          <ac:chgData name="Devraj, Keerthi (DI SW ICS ICV OS)" userId="a61e6969-d85e-42d5-913e-c7fe6fb96353" providerId="ADAL" clId="{37DB82A5-C483-491C-BAE0-407704EF08FB}" dt="2023-01-26T09:42:05.614" v="94" actId="478"/>
          <ac:cxnSpMkLst>
            <pc:docMk/>
            <pc:sldMk cId="3120581012" sldId="480"/>
            <ac:cxnSpMk id="8" creationId="{0C7F052E-1EBC-4C94-BCB0-587C494A517C}"/>
          </ac:cxnSpMkLst>
        </pc:cxnChg>
      </pc:sldChg>
      <pc:sldChg chg="addSp delSp modSp add mod">
        <pc:chgData name="Devraj, Keerthi (DI SW ICS ICV OS)" userId="a61e6969-d85e-42d5-913e-c7fe6fb96353" providerId="ADAL" clId="{37DB82A5-C483-491C-BAE0-407704EF08FB}" dt="2023-01-26T10:33:29.787" v="1888" actId="20577"/>
        <pc:sldMkLst>
          <pc:docMk/>
          <pc:sldMk cId="3619007553" sldId="481"/>
        </pc:sldMkLst>
        <pc:spChg chg="del">
          <ac:chgData name="Devraj, Keerthi (DI SW ICS ICV OS)" userId="a61e6969-d85e-42d5-913e-c7fe6fb96353" providerId="ADAL" clId="{37DB82A5-C483-491C-BAE0-407704EF08FB}" dt="2023-01-26T09:46:48.736" v="134" actId="478"/>
          <ac:spMkLst>
            <pc:docMk/>
            <pc:sldMk cId="3619007553" sldId="481"/>
            <ac:spMk id="4" creationId="{F5980E3B-2734-2F3A-6EF7-B39254A7C20C}"/>
          </ac:spMkLst>
        </pc:spChg>
        <pc:spChg chg="add mod">
          <ac:chgData name="Devraj, Keerthi (DI SW ICS ICV OS)" userId="a61e6969-d85e-42d5-913e-c7fe6fb96353" providerId="ADAL" clId="{37DB82A5-C483-491C-BAE0-407704EF08FB}" dt="2023-01-26T10:33:29.787" v="1888" actId="20577"/>
          <ac:spMkLst>
            <pc:docMk/>
            <pc:sldMk cId="3619007553" sldId="481"/>
            <ac:spMk id="5" creationId="{2790C287-9B4B-D138-0F4C-09B1DB58E3A2}"/>
          </ac:spMkLst>
        </pc:spChg>
      </pc:sldChg>
      <pc:sldChg chg="addSp delSp modSp add mod">
        <pc:chgData name="Devraj, Keerthi (DI SW ICS ICV OS)" userId="a61e6969-d85e-42d5-913e-c7fe6fb96353" providerId="ADAL" clId="{37DB82A5-C483-491C-BAE0-407704EF08FB}" dt="2023-01-26T10:33:04.470" v="1864" actId="20577"/>
        <pc:sldMkLst>
          <pc:docMk/>
          <pc:sldMk cId="2752120086" sldId="482"/>
        </pc:sldMkLst>
        <pc:spChg chg="add del mod">
          <ac:chgData name="Devraj, Keerthi (DI SW ICS ICV OS)" userId="a61e6969-d85e-42d5-913e-c7fe6fb96353" providerId="ADAL" clId="{37DB82A5-C483-491C-BAE0-407704EF08FB}" dt="2023-01-26T10:25:13.664" v="1788" actId="478"/>
          <ac:spMkLst>
            <pc:docMk/>
            <pc:sldMk cId="2752120086" sldId="482"/>
            <ac:spMk id="4" creationId="{3ED97A83-0990-7482-C88F-CF73C35529FE}"/>
          </ac:spMkLst>
        </pc:spChg>
        <pc:spChg chg="mod">
          <ac:chgData name="Devraj, Keerthi (DI SW ICS ICV OS)" userId="a61e6969-d85e-42d5-913e-c7fe6fb96353" providerId="ADAL" clId="{37DB82A5-C483-491C-BAE0-407704EF08FB}" dt="2023-01-26T10:33:04.470" v="1864" actId="20577"/>
          <ac:spMkLst>
            <pc:docMk/>
            <pc:sldMk cId="2752120086" sldId="482"/>
            <ac:spMk id="5" creationId="{2790C287-9B4B-D138-0F4C-09B1DB58E3A2}"/>
          </ac:spMkLst>
        </pc:spChg>
      </pc:sldChg>
      <pc:sldChg chg="modSp add mod">
        <pc:chgData name="Devraj, Keerthi (DI SW ICS ICV OS)" userId="a61e6969-d85e-42d5-913e-c7fe6fb96353" providerId="ADAL" clId="{37DB82A5-C483-491C-BAE0-407704EF08FB}" dt="2023-02-02T13:11:35.648" v="2726" actId="20577"/>
        <pc:sldMkLst>
          <pc:docMk/>
          <pc:sldMk cId="3367072097" sldId="483"/>
        </pc:sldMkLst>
        <pc:spChg chg="mod">
          <ac:chgData name="Devraj, Keerthi (DI SW ICS ICV OS)" userId="a61e6969-d85e-42d5-913e-c7fe6fb96353" providerId="ADAL" clId="{37DB82A5-C483-491C-BAE0-407704EF08FB}" dt="2023-01-26T13:07:29.903" v="2455" actId="1076"/>
          <ac:spMkLst>
            <pc:docMk/>
            <pc:sldMk cId="3367072097" sldId="483"/>
            <ac:spMk id="2" creationId="{C55C16BD-EA5C-4958-A62D-34A6BDF7811B}"/>
          </ac:spMkLst>
        </pc:spChg>
        <pc:spChg chg="mod">
          <ac:chgData name="Devraj, Keerthi (DI SW ICS ICV OS)" userId="a61e6969-d85e-42d5-913e-c7fe6fb96353" providerId="ADAL" clId="{37DB82A5-C483-491C-BAE0-407704EF08FB}" dt="2023-02-02T13:11:35.648" v="2726" actId="20577"/>
          <ac:spMkLst>
            <pc:docMk/>
            <pc:sldMk cId="3367072097" sldId="483"/>
            <ac:spMk id="5" creationId="{2790C287-9B4B-D138-0F4C-09B1DB58E3A2}"/>
          </ac:spMkLst>
        </pc:spChg>
      </pc:sldChg>
      <pc:sldChg chg="modSp add mod">
        <pc:chgData name="Devraj, Keerthi (DI SW ICS ICV OS)" userId="a61e6969-d85e-42d5-913e-c7fe6fb96353" providerId="ADAL" clId="{37DB82A5-C483-491C-BAE0-407704EF08FB}" dt="2023-01-26T12:44:26.956" v="1964" actId="20577"/>
        <pc:sldMkLst>
          <pc:docMk/>
          <pc:sldMk cId="3587494363" sldId="484"/>
        </pc:sldMkLst>
        <pc:spChg chg="mod">
          <ac:chgData name="Devraj, Keerthi (DI SW ICS ICV OS)" userId="a61e6969-d85e-42d5-913e-c7fe6fb96353" providerId="ADAL" clId="{37DB82A5-C483-491C-BAE0-407704EF08FB}" dt="2023-01-26T12:44:26.956" v="1964" actId="20577"/>
          <ac:spMkLst>
            <pc:docMk/>
            <pc:sldMk cId="3587494363" sldId="484"/>
            <ac:spMk id="5" creationId="{2790C287-9B4B-D138-0F4C-09B1DB58E3A2}"/>
          </ac:spMkLst>
        </pc:spChg>
      </pc:sldChg>
      <pc:sldChg chg="addSp delSp modSp add del mod modTransition modClrScheme chgLayout">
        <pc:chgData name="Devraj, Keerthi (DI SW ICS ICV OS)" userId="a61e6969-d85e-42d5-913e-c7fe6fb96353" providerId="ADAL" clId="{37DB82A5-C483-491C-BAE0-407704EF08FB}" dt="2023-01-31T14:35:46.246" v="2634" actId="47"/>
        <pc:sldMkLst>
          <pc:docMk/>
          <pc:sldMk cId="679501425" sldId="485"/>
        </pc:sldMkLst>
        <pc:spChg chg="del mod">
          <ac:chgData name="Devraj, Keerthi (DI SW ICS ICV OS)" userId="a61e6969-d85e-42d5-913e-c7fe6fb96353" providerId="ADAL" clId="{37DB82A5-C483-491C-BAE0-407704EF08FB}" dt="2023-01-31T14:11:01.762" v="2609" actId="26606"/>
          <ac:spMkLst>
            <pc:docMk/>
            <pc:sldMk cId="679501425" sldId="485"/>
            <ac:spMk id="2" creationId="{C55C16BD-EA5C-4958-A62D-34A6BDF7811B}"/>
          </ac:spMkLst>
        </pc:spChg>
        <pc:spChg chg="mod">
          <ac:chgData name="Devraj, Keerthi (DI SW ICS ICV OS)" userId="a61e6969-d85e-42d5-913e-c7fe6fb96353" providerId="ADAL" clId="{37DB82A5-C483-491C-BAE0-407704EF08FB}" dt="2023-01-31T14:11:01.762" v="2609" actId="26606"/>
          <ac:spMkLst>
            <pc:docMk/>
            <pc:sldMk cId="679501425" sldId="485"/>
            <ac:spMk id="3" creationId="{55C01AAA-1817-4254-B80C-C74B17AF34C8}"/>
          </ac:spMkLst>
        </pc:spChg>
        <pc:spChg chg="del">
          <ac:chgData name="Devraj, Keerthi (DI SW ICS ICV OS)" userId="a61e6969-d85e-42d5-913e-c7fe6fb96353" providerId="ADAL" clId="{37DB82A5-C483-491C-BAE0-407704EF08FB}" dt="2023-01-31T14:10:45.030" v="2605" actId="478"/>
          <ac:spMkLst>
            <pc:docMk/>
            <pc:sldMk cId="679501425" sldId="485"/>
            <ac:spMk id="4" creationId="{F5980E3B-2734-2F3A-6EF7-B39254A7C20C}"/>
          </ac:spMkLst>
        </pc:spChg>
        <pc:spChg chg="del mod">
          <ac:chgData name="Devraj, Keerthi (DI SW ICS ICV OS)" userId="a61e6969-d85e-42d5-913e-c7fe6fb96353" providerId="ADAL" clId="{37DB82A5-C483-491C-BAE0-407704EF08FB}" dt="2023-01-31T14:10:48.609" v="2607" actId="478"/>
          <ac:spMkLst>
            <pc:docMk/>
            <pc:sldMk cId="679501425" sldId="485"/>
            <ac:spMk id="7" creationId="{0A303F43-A5E9-20E0-F730-889371318BC8}"/>
          </ac:spMkLst>
        </pc:spChg>
        <pc:spChg chg="add mod">
          <ac:chgData name="Devraj, Keerthi (DI SW ICS ICV OS)" userId="a61e6969-d85e-42d5-913e-c7fe6fb96353" providerId="ADAL" clId="{37DB82A5-C483-491C-BAE0-407704EF08FB}" dt="2023-01-31T14:11:01.762" v="2609" actId="26606"/>
          <ac:spMkLst>
            <pc:docMk/>
            <pc:sldMk cId="679501425" sldId="485"/>
            <ac:spMk id="10" creationId="{49EB3E7E-1055-CE7B-05C8-A0863DA06E48}"/>
          </ac:spMkLst>
        </pc:spChg>
        <pc:graphicFrameChg chg="add mod modGraphic">
          <ac:chgData name="Devraj, Keerthi (DI SW ICS ICV OS)" userId="a61e6969-d85e-42d5-913e-c7fe6fb96353" providerId="ADAL" clId="{37DB82A5-C483-491C-BAE0-407704EF08FB}" dt="2023-01-31T14:11:28.512" v="2632" actId="1076"/>
          <ac:graphicFrameMkLst>
            <pc:docMk/>
            <pc:sldMk cId="679501425" sldId="485"/>
            <ac:graphicFrameMk id="5" creationId="{E576CA9A-7CCF-A12F-FEB0-707882CF3C73}"/>
          </ac:graphicFrameMkLst>
        </pc:graphicFrameChg>
        <pc:graphicFrameChg chg="add mod modGraphic">
          <ac:chgData name="Devraj, Keerthi (DI SW ICS ICV OS)" userId="a61e6969-d85e-42d5-913e-c7fe6fb96353" providerId="ADAL" clId="{37DB82A5-C483-491C-BAE0-407704EF08FB}" dt="2023-01-31T14:11:32.870" v="2633" actId="2166"/>
          <ac:graphicFrameMkLst>
            <pc:docMk/>
            <pc:sldMk cId="679501425" sldId="485"/>
            <ac:graphicFrameMk id="6" creationId="{EE69C340-1605-DF8B-34BC-80F9ED9C6A4B}"/>
          </ac:graphicFrameMkLst>
        </pc:graphicFrameChg>
      </pc:sldChg>
      <pc:sldChg chg="del">
        <pc:chgData name="Devraj, Keerthi (DI SW ICS ICV OS)" userId="a61e6969-d85e-42d5-913e-c7fe6fb96353" providerId="ADAL" clId="{37DB82A5-C483-491C-BAE0-407704EF08FB}" dt="2023-01-26T09:28:56.994" v="0" actId="47"/>
        <pc:sldMkLst>
          <pc:docMk/>
          <pc:sldMk cId="4259852740" sldId="485"/>
        </pc:sldMkLst>
      </pc:sldChg>
      <pc:sldChg chg="del">
        <pc:chgData name="Devraj, Keerthi (DI SW ICS ICV OS)" userId="a61e6969-d85e-42d5-913e-c7fe6fb96353" providerId="ADAL" clId="{37DB82A5-C483-491C-BAE0-407704EF08FB}" dt="2023-01-26T09:28:56.994" v="0" actId="47"/>
        <pc:sldMkLst>
          <pc:docMk/>
          <pc:sldMk cId="1950140948" sldId="486"/>
        </pc:sldMkLst>
      </pc:sldChg>
      <pc:sldChg chg="delSp modSp new del mod">
        <pc:chgData name="Devraj, Keerthi (DI SW ICS ICV OS)" userId="a61e6969-d85e-42d5-913e-c7fe6fb96353" providerId="ADAL" clId="{37DB82A5-C483-491C-BAE0-407704EF08FB}" dt="2023-01-31T09:28:43.615" v="2516" actId="47"/>
        <pc:sldMkLst>
          <pc:docMk/>
          <pc:sldMk cId="3932480354" sldId="486"/>
        </pc:sldMkLst>
        <pc:spChg chg="mod">
          <ac:chgData name="Devraj, Keerthi (DI SW ICS ICV OS)" userId="a61e6969-d85e-42d5-913e-c7fe6fb96353" providerId="ADAL" clId="{37DB82A5-C483-491C-BAE0-407704EF08FB}" dt="2023-01-31T09:19:27.862" v="2509" actId="403"/>
          <ac:spMkLst>
            <pc:docMk/>
            <pc:sldMk cId="3932480354" sldId="486"/>
            <ac:spMk id="2" creationId="{619ADE3E-51F3-A601-92F9-2BEC63266FCF}"/>
          </ac:spMkLst>
        </pc:spChg>
        <pc:spChg chg="del">
          <ac:chgData name="Devraj, Keerthi (DI SW ICS ICV OS)" userId="a61e6969-d85e-42d5-913e-c7fe6fb96353" providerId="ADAL" clId="{37DB82A5-C483-491C-BAE0-407704EF08FB}" dt="2023-01-31T09:19:08.272" v="2484" actId="478"/>
          <ac:spMkLst>
            <pc:docMk/>
            <pc:sldMk cId="3932480354" sldId="486"/>
            <ac:spMk id="3" creationId="{A888F039-6D60-6E74-F17C-64A8F9F8B418}"/>
          </ac:spMkLst>
        </pc:spChg>
      </pc:sldChg>
      <pc:sldChg chg="add del">
        <pc:chgData name="Devraj, Keerthi (DI SW ICS ICV OS)" userId="a61e6969-d85e-42d5-913e-c7fe6fb96353" providerId="ADAL" clId="{37DB82A5-C483-491C-BAE0-407704EF08FB}" dt="2023-01-31T09:28:45.201" v="2517" actId="47"/>
        <pc:sldMkLst>
          <pc:docMk/>
          <pc:sldMk cId="793403439" sldId="487"/>
        </pc:sldMkLst>
      </pc:sldChg>
      <pc:sldChg chg="del">
        <pc:chgData name="Devraj, Keerthi (DI SW ICS ICV OS)" userId="a61e6969-d85e-42d5-913e-c7fe6fb96353" providerId="ADAL" clId="{37DB82A5-C483-491C-BAE0-407704EF08FB}" dt="2023-01-26T09:28:56.994" v="0" actId="47"/>
        <pc:sldMkLst>
          <pc:docMk/>
          <pc:sldMk cId="1080004580" sldId="487"/>
        </pc:sldMkLst>
      </pc:sldChg>
      <pc:sldChg chg="del">
        <pc:chgData name="Devraj, Keerthi (DI SW ICS ICV OS)" userId="a61e6969-d85e-42d5-913e-c7fe6fb96353" providerId="ADAL" clId="{37DB82A5-C483-491C-BAE0-407704EF08FB}" dt="2023-01-26T09:28:56.994" v="0" actId="47"/>
        <pc:sldMkLst>
          <pc:docMk/>
          <pc:sldMk cId="1203675564" sldId="488"/>
        </pc:sldMkLst>
      </pc:sldChg>
      <pc:sldChg chg="del">
        <pc:chgData name="Devraj, Keerthi (DI SW ICS ICV OS)" userId="a61e6969-d85e-42d5-913e-c7fe6fb96353" providerId="ADAL" clId="{37DB82A5-C483-491C-BAE0-407704EF08FB}" dt="2023-01-26T09:28:56.994" v="0" actId="47"/>
        <pc:sldMkLst>
          <pc:docMk/>
          <pc:sldMk cId="2922216778" sldId="489"/>
        </pc:sldMkLst>
      </pc:sldChg>
      <pc:sldChg chg="del">
        <pc:chgData name="Devraj, Keerthi (DI SW ICS ICV OS)" userId="a61e6969-d85e-42d5-913e-c7fe6fb96353" providerId="ADAL" clId="{37DB82A5-C483-491C-BAE0-407704EF08FB}" dt="2023-01-26T09:28:56.994" v="0" actId="47"/>
        <pc:sldMkLst>
          <pc:docMk/>
          <pc:sldMk cId="2583961516" sldId="490"/>
        </pc:sldMkLst>
      </pc:sldChg>
      <pc:sldChg chg="del">
        <pc:chgData name="Devraj, Keerthi (DI SW ICS ICV OS)" userId="a61e6969-d85e-42d5-913e-c7fe6fb96353" providerId="ADAL" clId="{37DB82A5-C483-491C-BAE0-407704EF08FB}" dt="2023-01-26T09:28:56.994" v="0" actId="47"/>
        <pc:sldMkLst>
          <pc:docMk/>
          <pc:sldMk cId="803156198" sldId="491"/>
        </pc:sldMkLst>
      </pc:sldChg>
      <pc:sldChg chg="del">
        <pc:chgData name="Devraj, Keerthi (DI SW ICS ICV OS)" userId="a61e6969-d85e-42d5-913e-c7fe6fb96353" providerId="ADAL" clId="{37DB82A5-C483-491C-BAE0-407704EF08FB}" dt="2023-01-26T09:28:56.994" v="0" actId="47"/>
        <pc:sldMkLst>
          <pc:docMk/>
          <pc:sldMk cId="2735260240" sldId="492"/>
        </pc:sldMkLst>
      </pc:sldChg>
      <pc:sldChg chg="addSp delSp modSp add del mod ord">
        <pc:chgData name="Devraj, Keerthi (DI SW ICS ICV OS)" userId="a61e6969-d85e-42d5-913e-c7fe6fb96353" providerId="ADAL" clId="{37DB82A5-C483-491C-BAE0-407704EF08FB}" dt="2023-01-31T14:45:06.086" v="2647" actId="47"/>
        <pc:sldMkLst>
          <pc:docMk/>
          <pc:sldMk cId="1614690746" sldId="1172"/>
        </pc:sldMkLst>
        <pc:spChg chg="del">
          <ac:chgData name="Devraj, Keerthi (DI SW ICS ICV OS)" userId="a61e6969-d85e-42d5-913e-c7fe6fb96353" providerId="ADAL" clId="{37DB82A5-C483-491C-BAE0-407704EF08FB}" dt="2023-01-31T09:28:52.367" v="2519" actId="478"/>
          <ac:spMkLst>
            <pc:docMk/>
            <pc:sldMk cId="1614690746" sldId="1172"/>
            <ac:spMk id="2" creationId="{27507DB2-A004-4C7F-BB03-CAB07E07A0D3}"/>
          </ac:spMkLst>
        </pc:spChg>
        <pc:spChg chg="mod">
          <ac:chgData name="Devraj, Keerthi (DI SW ICS ICV OS)" userId="a61e6969-d85e-42d5-913e-c7fe6fb96353" providerId="ADAL" clId="{37DB82A5-C483-491C-BAE0-407704EF08FB}" dt="2023-01-31T14:35:52.586" v="2645" actId="6549"/>
          <ac:spMkLst>
            <pc:docMk/>
            <pc:sldMk cId="1614690746" sldId="1172"/>
            <ac:spMk id="5" creationId="{F640B5D6-DA30-4A72-90BF-4686C1ACCA99}"/>
          </ac:spMkLst>
        </pc:spChg>
        <pc:spChg chg="add del mod">
          <ac:chgData name="Devraj, Keerthi (DI SW ICS ICV OS)" userId="a61e6969-d85e-42d5-913e-c7fe6fb96353" providerId="ADAL" clId="{37DB82A5-C483-491C-BAE0-407704EF08FB}" dt="2023-01-31T09:28:54.743" v="2520" actId="478"/>
          <ac:spMkLst>
            <pc:docMk/>
            <pc:sldMk cId="1614690746" sldId="1172"/>
            <ac:spMk id="7" creationId="{5DF88C48-B89E-7EA3-5476-790073B53ECF}"/>
          </ac:spMkLst>
        </pc:spChg>
      </pc:sldChg>
      <pc:sldChg chg="modSp new del mod">
        <pc:chgData name="Devraj, Keerthi (DI SW ICS ICV OS)" userId="a61e6969-d85e-42d5-913e-c7fe6fb96353" providerId="ADAL" clId="{37DB82A5-C483-491C-BAE0-407704EF08FB}" dt="2023-01-31T14:08:43.668" v="2603" actId="47"/>
        <pc:sldMkLst>
          <pc:docMk/>
          <pc:sldMk cId="555559731" sldId="1173"/>
        </pc:sldMkLst>
        <pc:spChg chg="mod">
          <ac:chgData name="Devraj, Keerthi (DI SW ICS ICV OS)" userId="a61e6969-d85e-42d5-913e-c7fe6fb96353" providerId="ADAL" clId="{37DB82A5-C483-491C-BAE0-407704EF08FB}" dt="2023-01-31T13:08:41.617" v="2602" actId="20577"/>
          <ac:spMkLst>
            <pc:docMk/>
            <pc:sldMk cId="555559731" sldId="1173"/>
            <ac:spMk id="2" creationId="{A151BC36-B671-A94D-6251-CFEBE09DFEB5}"/>
          </ac:spMkLst>
        </pc:spChg>
      </pc:sldChg>
      <pc:sldChg chg="add">
        <pc:chgData name="Devraj, Keerthi (DI SW ICS ICV OS)" userId="a61e6969-d85e-42d5-913e-c7fe6fb96353" providerId="ADAL" clId="{37DB82A5-C483-491C-BAE0-407704EF08FB}" dt="2023-01-31T14:10:41.638" v="2604"/>
        <pc:sldMkLst>
          <pc:docMk/>
          <pc:sldMk cId="1977688736" sldId="1173"/>
        </pc:sldMkLst>
      </pc:sldChg>
      <pc:sldChg chg="new del">
        <pc:chgData name="Devraj, Keerthi (DI SW ICS ICV OS)" userId="a61e6969-d85e-42d5-913e-c7fe6fb96353" providerId="ADAL" clId="{37DB82A5-C483-491C-BAE0-407704EF08FB}" dt="2023-01-31T12:55:16.428" v="2567" actId="47"/>
        <pc:sldMkLst>
          <pc:docMk/>
          <pc:sldMk cId="3895992342" sldId="1173"/>
        </pc:sldMkLst>
      </pc:sldChg>
      <pc:sldChg chg="modSp add del mod">
        <pc:chgData name="Devraj, Keerthi (DI SW ICS ICV OS)" userId="a61e6969-d85e-42d5-913e-c7fe6fb96353" providerId="ADAL" clId="{37DB82A5-C483-491C-BAE0-407704EF08FB}" dt="2023-01-31T14:46:10.993" v="2724" actId="47"/>
        <pc:sldMkLst>
          <pc:docMk/>
          <pc:sldMk cId="3976736000" sldId="1201"/>
        </pc:sldMkLst>
        <pc:spChg chg="mod">
          <ac:chgData name="Devraj, Keerthi (DI SW ICS ICV OS)" userId="a61e6969-d85e-42d5-913e-c7fe6fb96353" providerId="ADAL" clId="{37DB82A5-C483-491C-BAE0-407704EF08FB}" dt="2023-01-31T14:45:54.045" v="2723" actId="20577"/>
          <ac:spMkLst>
            <pc:docMk/>
            <pc:sldMk cId="3976736000" sldId="1201"/>
            <ac:spMk id="83" creationId="{A3BA1C7C-7833-7446-90E2-6D7B35F2E42A}"/>
          </ac:spMkLst>
        </pc:spChg>
      </pc:sldChg>
      <pc:sldMasterChg chg="delSldLayout">
        <pc:chgData name="Devraj, Keerthi (DI SW ICS ICV OS)" userId="a61e6969-d85e-42d5-913e-c7fe6fb96353" providerId="ADAL" clId="{37DB82A5-C483-491C-BAE0-407704EF08FB}" dt="2023-01-31T14:46:10.993" v="2724" actId="47"/>
        <pc:sldMasterMkLst>
          <pc:docMk/>
          <pc:sldMasterMk cId="3481982431" sldId="2147483718"/>
        </pc:sldMasterMkLst>
        <pc:sldLayoutChg chg="del">
          <pc:chgData name="Devraj, Keerthi (DI SW ICS ICV OS)" userId="a61e6969-d85e-42d5-913e-c7fe6fb96353" providerId="ADAL" clId="{37DB82A5-C483-491C-BAE0-407704EF08FB}" dt="2023-01-31T14:35:46.246" v="2634" actId="47"/>
          <pc:sldLayoutMkLst>
            <pc:docMk/>
            <pc:sldMasterMk cId="3481982431" sldId="2147483718"/>
            <pc:sldLayoutMk cId="1001675812" sldId="2147483753"/>
          </pc:sldLayoutMkLst>
        </pc:sldLayoutChg>
        <pc:sldLayoutChg chg="del">
          <pc:chgData name="Devraj, Keerthi (DI SW ICS ICV OS)" userId="a61e6969-d85e-42d5-913e-c7fe6fb96353" providerId="ADAL" clId="{37DB82A5-C483-491C-BAE0-407704EF08FB}" dt="2023-01-31T14:45:06.086" v="2647" actId="47"/>
          <pc:sldLayoutMkLst>
            <pc:docMk/>
            <pc:sldMasterMk cId="3481982431" sldId="2147483718"/>
            <pc:sldLayoutMk cId="837824676" sldId="2147483756"/>
          </pc:sldLayoutMkLst>
        </pc:sldLayoutChg>
        <pc:sldLayoutChg chg="del">
          <pc:chgData name="Devraj, Keerthi (DI SW ICS ICV OS)" userId="a61e6969-d85e-42d5-913e-c7fe6fb96353" providerId="ADAL" clId="{37DB82A5-C483-491C-BAE0-407704EF08FB}" dt="2023-01-31T14:46:10.993" v="2724" actId="47"/>
          <pc:sldLayoutMkLst>
            <pc:docMk/>
            <pc:sldMasterMk cId="3481982431" sldId="2147483718"/>
            <pc:sldLayoutMk cId="3669599422" sldId="2147483757"/>
          </pc:sldLayoutMkLst>
        </pc:sldLayoutChg>
      </pc:sldMasterChg>
    </pc:docChg>
  </pc:docChgLst>
  <pc:docChgLst>
    <pc:chgData name="Devraj, Keerthi (DI SW ICS DVT CSF DV FS)" userId="a61e6969-d85e-42d5-913e-c7fe6fb96353" providerId="ADAL" clId="{DDC5853D-AC23-47BD-A462-B07CB2FB084E}"/>
    <pc:docChg chg="undo redo custSel addSld delSld modSld sldOrd">
      <pc:chgData name="Devraj, Keerthi (DI SW ICS DVT CSF DV FS)" userId="a61e6969-d85e-42d5-913e-c7fe6fb96353" providerId="ADAL" clId="{DDC5853D-AC23-47BD-A462-B07CB2FB084E}" dt="2024-06-07T22:36:41.532" v="7839" actId="20577"/>
      <pc:docMkLst>
        <pc:docMk/>
      </pc:docMkLst>
      <pc:sldChg chg="del">
        <pc:chgData name="Devraj, Keerthi (DI SW ICS DVT CSF DV FS)" userId="a61e6969-d85e-42d5-913e-c7fe6fb96353" providerId="ADAL" clId="{DDC5853D-AC23-47BD-A462-B07CB2FB084E}" dt="2024-06-06T10:17:44.512" v="1666" actId="47"/>
        <pc:sldMkLst>
          <pc:docMk/>
          <pc:sldMk cId="1285380617" sldId="444"/>
        </pc:sldMkLst>
      </pc:sldChg>
      <pc:sldChg chg="addSp delSp modSp mod">
        <pc:chgData name="Devraj, Keerthi (DI SW ICS DVT CSF DV FS)" userId="a61e6969-d85e-42d5-913e-c7fe6fb96353" providerId="ADAL" clId="{DDC5853D-AC23-47BD-A462-B07CB2FB084E}" dt="2024-06-06T13:45:29.883" v="3466" actId="478"/>
        <pc:sldMkLst>
          <pc:docMk/>
          <pc:sldMk cId="4047077203" sldId="453"/>
        </pc:sldMkLst>
        <pc:spChg chg="mod">
          <ac:chgData name="Devraj, Keerthi (DI SW ICS DVT CSF DV FS)" userId="a61e6969-d85e-42d5-913e-c7fe6fb96353" providerId="ADAL" clId="{DDC5853D-AC23-47BD-A462-B07CB2FB084E}" dt="2024-06-06T07:37:44.498" v="125" actId="1076"/>
          <ac:spMkLst>
            <pc:docMk/>
            <pc:sldMk cId="4047077203" sldId="453"/>
            <ac:spMk id="2" creationId="{3787DCDB-E649-4D88-9AEB-9F963E4B6158}"/>
          </ac:spMkLst>
        </pc:spChg>
        <pc:spChg chg="del mod">
          <ac:chgData name="Devraj, Keerthi (DI SW ICS DVT CSF DV FS)" userId="a61e6969-d85e-42d5-913e-c7fe6fb96353" providerId="ADAL" clId="{DDC5853D-AC23-47BD-A462-B07CB2FB084E}" dt="2024-06-06T07:33:55.520" v="1" actId="478"/>
          <ac:spMkLst>
            <pc:docMk/>
            <pc:sldMk cId="4047077203" sldId="453"/>
            <ac:spMk id="3" creationId="{898CE0F1-5315-4EE2-B93D-C6DDDC77C5CC}"/>
          </ac:spMkLst>
        </pc:spChg>
        <pc:spChg chg="add mod">
          <ac:chgData name="Devraj, Keerthi (DI SW ICS DVT CSF DV FS)" userId="a61e6969-d85e-42d5-913e-c7fe6fb96353" providerId="ADAL" clId="{DDC5853D-AC23-47BD-A462-B07CB2FB084E}" dt="2024-06-06T07:37:51.753" v="128" actId="114"/>
          <ac:spMkLst>
            <pc:docMk/>
            <pc:sldMk cId="4047077203" sldId="453"/>
            <ac:spMk id="4" creationId="{DB02AC89-00D0-7548-BA83-1DAB6AABFFB7}"/>
          </ac:spMkLst>
        </pc:spChg>
        <pc:picChg chg="add del mod">
          <ac:chgData name="Devraj, Keerthi (DI SW ICS DVT CSF DV FS)" userId="a61e6969-d85e-42d5-913e-c7fe6fb96353" providerId="ADAL" clId="{DDC5853D-AC23-47BD-A462-B07CB2FB084E}" dt="2024-06-06T13:45:29.883" v="3466" actId="478"/>
          <ac:picMkLst>
            <pc:docMk/>
            <pc:sldMk cId="4047077203" sldId="453"/>
            <ac:picMk id="6" creationId="{DA34BB93-67D9-9B44-1AC9-AA197A0EE5C9}"/>
          </ac:picMkLst>
        </pc:picChg>
      </pc:sldChg>
      <pc:sldChg chg="del mod modShow">
        <pc:chgData name="Devraj, Keerthi (DI SW ICS DVT CSF DV FS)" userId="a61e6969-d85e-42d5-913e-c7fe6fb96353" providerId="ADAL" clId="{DDC5853D-AC23-47BD-A462-B07CB2FB084E}" dt="2024-06-06T08:53:36.339" v="293" actId="47"/>
        <pc:sldMkLst>
          <pc:docMk/>
          <pc:sldMk cId="2676453727" sldId="1183"/>
        </pc:sldMkLst>
      </pc:sldChg>
      <pc:sldChg chg="del">
        <pc:chgData name="Devraj, Keerthi (DI SW ICS DVT CSF DV FS)" userId="a61e6969-d85e-42d5-913e-c7fe6fb96353" providerId="ADAL" clId="{DDC5853D-AC23-47BD-A462-B07CB2FB084E}" dt="2024-06-06T08:53:35.324" v="292" actId="47"/>
        <pc:sldMkLst>
          <pc:docMk/>
          <pc:sldMk cId="1523291668" sldId="1184"/>
        </pc:sldMkLst>
      </pc:sldChg>
      <pc:sldChg chg="addSp delSp modSp del mod">
        <pc:chgData name="Devraj, Keerthi (DI SW ICS DVT CSF DV FS)" userId="a61e6969-d85e-42d5-913e-c7fe6fb96353" providerId="ADAL" clId="{DDC5853D-AC23-47BD-A462-B07CB2FB084E}" dt="2024-06-06T10:42:46.297" v="2331" actId="47"/>
        <pc:sldMkLst>
          <pc:docMk/>
          <pc:sldMk cId="869511544" sldId="1185"/>
        </pc:sldMkLst>
        <pc:spChg chg="del">
          <ac:chgData name="Devraj, Keerthi (DI SW ICS DVT CSF DV FS)" userId="a61e6969-d85e-42d5-913e-c7fe6fb96353" providerId="ADAL" clId="{DDC5853D-AC23-47BD-A462-B07CB2FB084E}" dt="2024-06-06T10:38:19.900" v="2169" actId="21"/>
          <ac:spMkLst>
            <pc:docMk/>
            <pc:sldMk cId="869511544" sldId="1185"/>
            <ac:spMk id="5" creationId="{C92F8D84-EC61-8C37-6375-931FFF592667}"/>
          </ac:spMkLst>
        </pc:spChg>
        <pc:spChg chg="del">
          <ac:chgData name="Devraj, Keerthi (DI SW ICS DVT CSF DV FS)" userId="a61e6969-d85e-42d5-913e-c7fe6fb96353" providerId="ADAL" clId="{DDC5853D-AC23-47BD-A462-B07CB2FB084E}" dt="2024-06-06T10:37:06.190" v="2147" actId="21"/>
          <ac:spMkLst>
            <pc:docMk/>
            <pc:sldMk cId="869511544" sldId="1185"/>
            <ac:spMk id="6" creationId="{CABC8283-76C5-F38A-B0FD-661BECBA7A2B}"/>
          </ac:spMkLst>
        </pc:spChg>
        <pc:spChg chg="del">
          <ac:chgData name="Devraj, Keerthi (DI SW ICS DVT CSF DV FS)" userId="a61e6969-d85e-42d5-913e-c7fe6fb96353" providerId="ADAL" clId="{DDC5853D-AC23-47BD-A462-B07CB2FB084E}" dt="2024-06-06T10:37:06.190" v="2147" actId="21"/>
          <ac:spMkLst>
            <pc:docMk/>
            <pc:sldMk cId="869511544" sldId="1185"/>
            <ac:spMk id="7" creationId="{6C8F4712-1FCF-3479-D45C-E790F1E5926E}"/>
          </ac:spMkLst>
        </pc:spChg>
        <pc:spChg chg="del">
          <ac:chgData name="Devraj, Keerthi (DI SW ICS DVT CSF DV FS)" userId="a61e6969-d85e-42d5-913e-c7fe6fb96353" providerId="ADAL" clId="{DDC5853D-AC23-47BD-A462-B07CB2FB084E}" dt="2024-06-06T10:37:06.190" v="2147" actId="21"/>
          <ac:spMkLst>
            <pc:docMk/>
            <pc:sldMk cId="869511544" sldId="1185"/>
            <ac:spMk id="8" creationId="{5320918D-E361-0DEC-88F5-9587C8DC29CA}"/>
          </ac:spMkLst>
        </pc:spChg>
        <pc:spChg chg="add del">
          <ac:chgData name="Devraj, Keerthi (DI SW ICS DVT CSF DV FS)" userId="a61e6969-d85e-42d5-913e-c7fe6fb96353" providerId="ADAL" clId="{DDC5853D-AC23-47BD-A462-B07CB2FB084E}" dt="2024-06-06T10:38:19.900" v="2169" actId="21"/>
          <ac:spMkLst>
            <pc:docMk/>
            <pc:sldMk cId="869511544" sldId="1185"/>
            <ac:spMk id="9" creationId="{A6B5B1B6-C4C6-015F-5D81-4AC38F6E8809}"/>
          </ac:spMkLst>
        </pc:spChg>
        <pc:spChg chg="add del">
          <ac:chgData name="Devraj, Keerthi (DI SW ICS DVT CSF DV FS)" userId="a61e6969-d85e-42d5-913e-c7fe6fb96353" providerId="ADAL" clId="{DDC5853D-AC23-47BD-A462-B07CB2FB084E}" dt="2024-06-06T10:38:19.900" v="2169" actId="21"/>
          <ac:spMkLst>
            <pc:docMk/>
            <pc:sldMk cId="869511544" sldId="1185"/>
            <ac:spMk id="10" creationId="{E09C367E-3CBF-7891-3560-8CCE77EB2B7F}"/>
          </ac:spMkLst>
        </pc:spChg>
        <pc:spChg chg="mod">
          <ac:chgData name="Devraj, Keerthi (DI SW ICS DVT CSF DV FS)" userId="a61e6969-d85e-42d5-913e-c7fe6fb96353" providerId="ADAL" clId="{DDC5853D-AC23-47BD-A462-B07CB2FB084E}" dt="2024-06-06T10:42:43.957" v="2330" actId="21"/>
          <ac:spMkLst>
            <pc:docMk/>
            <pc:sldMk cId="869511544" sldId="1185"/>
            <ac:spMk id="11" creationId="{56746ED6-89AE-4298-CB10-AF11C794BF41}"/>
          </ac:spMkLst>
        </pc:spChg>
        <pc:picChg chg="del">
          <ac:chgData name="Devraj, Keerthi (DI SW ICS DVT CSF DV FS)" userId="a61e6969-d85e-42d5-913e-c7fe6fb96353" providerId="ADAL" clId="{DDC5853D-AC23-47BD-A462-B07CB2FB084E}" dt="2024-06-06T10:41:21.925" v="2306" actId="21"/>
          <ac:picMkLst>
            <pc:docMk/>
            <pc:sldMk cId="869511544" sldId="1185"/>
            <ac:picMk id="13" creationId="{09AC7288-1CBB-D290-6BE7-CCD53AE9E37D}"/>
          </ac:picMkLst>
        </pc:picChg>
        <pc:picChg chg="add del">
          <ac:chgData name="Devraj, Keerthi (DI SW ICS DVT CSF DV FS)" userId="a61e6969-d85e-42d5-913e-c7fe6fb96353" providerId="ADAL" clId="{DDC5853D-AC23-47BD-A462-B07CB2FB084E}" dt="2024-06-06T10:38:19.900" v="2169" actId="21"/>
          <ac:picMkLst>
            <pc:docMk/>
            <pc:sldMk cId="869511544" sldId="1185"/>
            <ac:picMk id="14" creationId="{FE8E23A8-5AF0-95F5-5429-8AAE96696FEB}"/>
          </ac:picMkLst>
        </pc:picChg>
        <pc:picChg chg="del">
          <ac:chgData name="Devraj, Keerthi (DI SW ICS DVT CSF DV FS)" userId="a61e6969-d85e-42d5-913e-c7fe6fb96353" providerId="ADAL" clId="{DDC5853D-AC23-47BD-A462-B07CB2FB084E}" dt="2024-06-06T10:37:06.190" v="2147" actId="21"/>
          <ac:picMkLst>
            <pc:docMk/>
            <pc:sldMk cId="869511544" sldId="1185"/>
            <ac:picMk id="15" creationId="{DA85EFBB-B692-9DDD-75B8-E50C9952C883}"/>
          </ac:picMkLst>
        </pc:picChg>
      </pc:sldChg>
      <pc:sldChg chg="del">
        <pc:chgData name="Devraj, Keerthi (DI SW ICS DVT CSF DV FS)" userId="a61e6969-d85e-42d5-913e-c7fe6fb96353" providerId="ADAL" clId="{DDC5853D-AC23-47BD-A462-B07CB2FB084E}" dt="2024-06-06T07:39:29.360" v="129" actId="47"/>
        <pc:sldMkLst>
          <pc:docMk/>
          <pc:sldMk cId="1876145739" sldId="1187"/>
        </pc:sldMkLst>
      </pc:sldChg>
      <pc:sldChg chg="addSp modSp del mod">
        <pc:chgData name="Devraj, Keerthi (DI SW ICS DVT CSF DV FS)" userId="a61e6969-d85e-42d5-913e-c7fe6fb96353" providerId="ADAL" clId="{DDC5853D-AC23-47BD-A462-B07CB2FB084E}" dt="2024-06-06T10:41:09.826" v="2302" actId="47"/>
        <pc:sldMkLst>
          <pc:docMk/>
          <pc:sldMk cId="2743562955" sldId="1188"/>
        </pc:sldMkLst>
        <pc:spChg chg="add mod">
          <ac:chgData name="Devraj, Keerthi (DI SW ICS DVT CSF DV FS)" userId="a61e6969-d85e-42d5-913e-c7fe6fb96353" providerId="ADAL" clId="{DDC5853D-AC23-47BD-A462-B07CB2FB084E}" dt="2024-06-06T08:47:17.801" v="262"/>
          <ac:spMkLst>
            <pc:docMk/>
            <pc:sldMk cId="2743562955" sldId="1188"/>
            <ac:spMk id="4" creationId="{DBBB0EFC-7207-C0C6-17A5-D5B3CD31B88D}"/>
          </ac:spMkLst>
        </pc:spChg>
        <pc:spChg chg="add mod">
          <ac:chgData name="Devraj, Keerthi (DI SW ICS DVT CSF DV FS)" userId="a61e6969-d85e-42d5-913e-c7fe6fb96353" providerId="ADAL" clId="{DDC5853D-AC23-47BD-A462-B07CB2FB084E}" dt="2024-06-06T08:48:01.598" v="284"/>
          <ac:spMkLst>
            <pc:docMk/>
            <pc:sldMk cId="2743562955" sldId="1188"/>
            <ac:spMk id="108" creationId="{70B364F4-6A7B-0EA4-50DC-A3BF0E20E567}"/>
          </ac:spMkLst>
        </pc:spChg>
        <pc:spChg chg="add mod">
          <ac:chgData name="Devraj, Keerthi (DI SW ICS DVT CSF DV FS)" userId="a61e6969-d85e-42d5-913e-c7fe6fb96353" providerId="ADAL" clId="{DDC5853D-AC23-47BD-A462-B07CB2FB084E}" dt="2024-06-06T08:48:01.598" v="284"/>
          <ac:spMkLst>
            <pc:docMk/>
            <pc:sldMk cId="2743562955" sldId="1188"/>
            <ac:spMk id="109" creationId="{0794F992-59FE-9C6C-DA03-0C967351FD97}"/>
          </ac:spMkLst>
        </pc:spChg>
        <pc:cxnChg chg="add mod">
          <ac:chgData name="Devraj, Keerthi (DI SW ICS DVT CSF DV FS)" userId="a61e6969-d85e-42d5-913e-c7fe6fb96353" providerId="ADAL" clId="{DDC5853D-AC23-47BD-A462-B07CB2FB084E}" dt="2024-06-06T08:48:11.861" v="290" actId="1037"/>
          <ac:cxnSpMkLst>
            <pc:docMk/>
            <pc:sldMk cId="2743562955" sldId="1188"/>
            <ac:cxnSpMk id="5" creationId="{9604B01C-C246-F0A8-63CF-50B28FBFDEAC}"/>
          </ac:cxnSpMkLst>
        </pc:cxnChg>
        <pc:cxnChg chg="mod">
          <ac:chgData name="Devraj, Keerthi (DI SW ICS DVT CSF DV FS)" userId="a61e6969-d85e-42d5-913e-c7fe6fb96353" providerId="ADAL" clId="{DDC5853D-AC23-47BD-A462-B07CB2FB084E}" dt="2024-06-06T08:48:11.077" v="288" actId="1038"/>
          <ac:cxnSpMkLst>
            <pc:docMk/>
            <pc:sldMk cId="2743562955" sldId="1188"/>
            <ac:cxnSpMk id="104" creationId="{76575DC5-EB38-5F25-2F6C-D21E3BA11DF2}"/>
          </ac:cxnSpMkLst>
        </pc:cxnChg>
        <pc:cxnChg chg="add mod">
          <ac:chgData name="Devraj, Keerthi (DI SW ICS DVT CSF DV FS)" userId="a61e6969-d85e-42d5-913e-c7fe6fb96353" providerId="ADAL" clId="{DDC5853D-AC23-47BD-A462-B07CB2FB084E}" dt="2024-06-06T08:48:01.598" v="284"/>
          <ac:cxnSpMkLst>
            <pc:docMk/>
            <pc:sldMk cId="2743562955" sldId="1188"/>
            <ac:cxnSpMk id="107" creationId="{E08AA97F-2E52-43CB-882A-0AC8D63FB335}"/>
          </ac:cxnSpMkLst>
        </pc:cxnChg>
        <pc:cxnChg chg="add mod">
          <ac:chgData name="Devraj, Keerthi (DI SW ICS DVT CSF DV FS)" userId="a61e6969-d85e-42d5-913e-c7fe6fb96353" providerId="ADAL" clId="{DDC5853D-AC23-47BD-A462-B07CB2FB084E}" dt="2024-06-06T08:48:01.598" v="284"/>
          <ac:cxnSpMkLst>
            <pc:docMk/>
            <pc:sldMk cId="2743562955" sldId="1188"/>
            <ac:cxnSpMk id="110" creationId="{0673E224-4DC4-36EA-66E6-6A528B43BBE2}"/>
          </ac:cxnSpMkLst>
        </pc:cxnChg>
        <pc:cxnChg chg="add mod">
          <ac:chgData name="Devraj, Keerthi (DI SW ICS DVT CSF DV FS)" userId="a61e6969-d85e-42d5-913e-c7fe6fb96353" providerId="ADAL" clId="{DDC5853D-AC23-47BD-A462-B07CB2FB084E}" dt="2024-06-06T08:48:01.598" v="284"/>
          <ac:cxnSpMkLst>
            <pc:docMk/>
            <pc:sldMk cId="2743562955" sldId="1188"/>
            <ac:cxnSpMk id="111" creationId="{5DBE8D1C-BAA9-D3A8-8849-1DBCE7AA7308}"/>
          </ac:cxnSpMkLst>
        </pc:cxnChg>
        <pc:cxnChg chg="add mod">
          <ac:chgData name="Devraj, Keerthi (DI SW ICS DVT CSF DV FS)" userId="a61e6969-d85e-42d5-913e-c7fe6fb96353" providerId="ADAL" clId="{DDC5853D-AC23-47BD-A462-B07CB2FB084E}" dt="2024-06-06T08:48:01.598" v="284"/>
          <ac:cxnSpMkLst>
            <pc:docMk/>
            <pc:sldMk cId="2743562955" sldId="1188"/>
            <ac:cxnSpMk id="112" creationId="{73B60147-D34C-E78F-2585-866A650C9003}"/>
          </ac:cxnSpMkLst>
        </pc:cxnChg>
      </pc:sldChg>
      <pc:sldChg chg="del">
        <pc:chgData name="Devraj, Keerthi (DI SW ICS DVT CSF DV FS)" userId="a61e6969-d85e-42d5-913e-c7fe6fb96353" providerId="ADAL" clId="{DDC5853D-AC23-47BD-A462-B07CB2FB084E}" dt="2024-06-06T10:47:18.213" v="2515" actId="47"/>
        <pc:sldMkLst>
          <pc:docMk/>
          <pc:sldMk cId="4184487954" sldId="1190"/>
        </pc:sldMkLst>
      </pc:sldChg>
      <pc:sldChg chg="del">
        <pc:chgData name="Devraj, Keerthi (DI SW ICS DVT CSF DV FS)" userId="a61e6969-d85e-42d5-913e-c7fe6fb96353" providerId="ADAL" clId="{DDC5853D-AC23-47BD-A462-B07CB2FB084E}" dt="2024-06-06T10:47:18.213" v="2515" actId="47"/>
        <pc:sldMkLst>
          <pc:docMk/>
          <pc:sldMk cId="1935986274" sldId="1191"/>
        </pc:sldMkLst>
      </pc:sldChg>
      <pc:sldChg chg="modSp del mod">
        <pc:chgData name="Devraj, Keerthi (DI SW ICS DVT CSF DV FS)" userId="a61e6969-d85e-42d5-913e-c7fe6fb96353" providerId="ADAL" clId="{DDC5853D-AC23-47BD-A462-B07CB2FB084E}" dt="2024-06-06T10:47:18.213" v="2515" actId="47"/>
        <pc:sldMkLst>
          <pc:docMk/>
          <pc:sldMk cId="3629113611" sldId="1192"/>
        </pc:sldMkLst>
        <pc:spChg chg="mod">
          <ac:chgData name="Devraj, Keerthi (DI SW ICS DVT CSF DV FS)" userId="a61e6969-d85e-42d5-913e-c7fe6fb96353" providerId="ADAL" clId="{DDC5853D-AC23-47BD-A462-B07CB2FB084E}" dt="2024-06-06T10:17:24.146" v="1665" actId="1076"/>
          <ac:spMkLst>
            <pc:docMk/>
            <pc:sldMk cId="3629113611" sldId="1192"/>
            <ac:spMk id="4" creationId="{38F06318-C288-FE6E-9789-DF25140EFB6E}"/>
          </ac:spMkLst>
        </pc:spChg>
      </pc:sldChg>
      <pc:sldChg chg="addSp delSp modSp mod ord">
        <pc:chgData name="Devraj, Keerthi (DI SW ICS DVT CSF DV FS)" userId="a61e6969-d85e-42d5-913e-c7fe6fb96353" providerId="ADAL" clId="{DDC5853D-AC23-47BD-A462-B07CB2FB084E}" dt="2024-06-07T21:57:25.056" v="6661" actId="6549"/>
        <pc:sldMkLst>
          <pc:docMk/>
          <pc:sldMk cId="1204851779" sldId="1193"/>
        </pc:sldMkLst>
        <pc:spChg chg="mod">
          <ac:chgData name="Devraj, Keerthi (DI SW ICS DVT CSF DV FS)" userId="a61e6969-d85e-42d5-913e-c7fe6fb96353" providerId="ADAL" clId="{DDC5853D-AC23-47BD-A462-B07CB2FB084E}" dt="2024-06-06T11:01:16.950" v="3250" actId="6549"/>
          <ac:spMkLst>
            <pc:docMk/>
            <pc:sldMk cId="1204851779" sldId="1193"/>
            <ac:spMk id="2" creationId="{30A59CE0-18CE-9447-F486-84039784745F}"/>
          </ac:spMkLst>
        </pc:spChg>
        <pc:spChg chg="add mod">
          <ac:chgData name="Devraj, Keerthi (DI SW ICS DVT CSF DV FS)" userId="a61e6969-d85e-42d5-913e-c7fe6fb96353" providerId="ADAL" clId="{DDC5853D-AC23-47BD-A462-B07CB2FB084E}" dt="2024-06-07T21:57:25.056" v="6661" actId="6549"/>
          <ac:spMkLst>
            <pc:docMk/>
            <pc:sldMk cId="1204851779" sldId="1193"/>
            <ac:spMk id="31" creationId="{5E088973-7BA7-346F-D04F-6EE9E0981E9F}"/>
          </ac:spMkLst>
        </pc:spChg>
        <pc:spChg chg="add mod">
          <ac:chgData name="Devraj, Keerthi (DI SW ICS DVT CSF DV FS)" userId="a61e6969-d85e-42d5-913e-c7fe6fb96353" providerId="ADAL" clId="{DDC5853D-AC23-47BD-A462-B07CB2FB084E}" dt="2024-06-06T11:02:24.382" v="3275"/>
          <ac:spMkLst>
            <pc:docMk/>
            <pc:sldMk cId="1204851779" sldId="1193"/>
            <ac:spMk id="32" creationId="{963D694D-4AA0-F59D-5984-FCCA8E277377}"/>
          </ac:spMkLst>
        </pc:spChg>
        <pc:spChg chg="add del mod">
          <ac:chgData name="Devraj, Keerthi (DI SW ICS DVT CSF DV FS)" userId="a61e6969-d85e-42d5-913e-c7fe6fb96353" providerId="ADAL" clId="{DDC5853D-AC23-47BD-A462-B07CB2FB084E}" dt="2024-06-06T11:02:46.714" v="3282" actId="478"/>
          <ac:spMkLst>
            <pc:docMk/>
            <pc:sldMk cId="1204851779" sldId="1193"/>
            <ac:spMk id="33" creationId="{4EB12C46-2C4A-73FD-2830-78FEFD2DDD61}"/>
          </ac:spMkLst>
        </pc:spChg>
        <pc:spChg chg="add del mod">
          <ac:chgData name="Devraj, Keerthi (DI SW ICS DVT CSF DV FS)" userId="a61e6969-d85e-42d5-913e-c7fe6fb96353" providerId="ADAL" clId="{DDC5853D-AC23-47BD-A462-B07CB2FB084E}" dt="2024-06-07T21:25:47.345" v="6399" actId="478"/>
          <ac:spMkLst>
            <pc:docMk/>
            <pc:sldMk cId="1204851779" sldId="1193"/>
            <ac:spMk id="34" creationId="{BD887687-917F-4EB7-40D4-F97A2DFE7DB9}"/>
          </ac:spMkLst>
        </pc:spChg>
        <pc:grpChg chg="del">
          <ac:chgData name="Devraj, Keerthi (DI SW ICS DVT CSF DV FS)" userId="a61e6969-d85e-42d5-913e-c7fe6fb96353" providerId="ADAL" clId="{DDC5853D-AC23-47BD-A462-B07CB2FB084E}" dt="2024-06-06T11:01:19.433" v="3251" actId="478"/>
          <ac:grpSpMkLst>
            <pc:docMk/>
            <pc:sldMk cId="1204851779" sldId="1193"/>
            <ac:grpSpMk id="6" creationId="{67C4342B-9365-436E-600F-88FBBA25A463}"/>
          </ac:grpSpMkLst>
        </pc:grpChg>
        <pc:grpChg chg="add del">
          <ac:chgData name="Devraj, Keerthi (DI SW ICS DVT CSF DV FS)" userId="a61e6969-d85e-42d5-913e-c7fe6fb96353" providerId="ADAL" clId="{DDC5853D-AC23-47BD-A462-B07CB2FB084E}" dt="2024-06-06T11:01:29.574" v="3254" actId="478"/>
          <ac:grpSpMkLst>
            <pc:docMk/>
            <pc:sldMk cId="1204851779" sldId="1193"/>
            <ac:grpSpMk id="30" creationId="{35BCE377-9131-8224-14D7-EE42B4FB96D4}"/>
          </ac:grpSpMkLst>
        </pc:grpChg>
        <pc:picChg chg="mod">
          <ac:chgData name="Devraj, Keerthi (DI SW ICS DVT CSF DV FS)" userId="a61e6969-d85e-42d5-913e-c7fe6fb96353" providerId="ADAL" clId="{DDC5853D-AC23-47BD-A462-B07CB2FB084E}" dt="2024-06-07T21:28:35.754" v="6594" actId="29295"/>
          <ac:picMkLst>
            <pc:docMk/>
            <pc:sldMk cId="1204851779" sldId="1193"/>
            <ac:picMk id="4" creationId="{0DAEB560-3B11-ADDF-2EEB-D64FAD376A60}"/>
          </ac:picMkLst>
        </pc:picChg>
      </pc:sldChg>
      <pc:sldChg chg="del">
        <pc:chgData name="Devraj, Keerthi (DI SW ICS DVT CSF DV FS)" userId="a61e6969-d85e-42d5-913e-c7fe6fb96353" providerId="ADAL" clId="{DDC5853D-AC23-47BD-A462-B07CB2FB084E}" dt="2024-06-07T22:35:11.054" v="7812" actId="47"/>
        <pc:sldMkLst>
          <pc:docMk/>
          <pc:sldMk cId="3796347276" sldId="1212"/>
        </pc:sldMkLst>
      </pc:sldChg>
      <pc:sldChg chg="del">
        <pc:chgData name="Devraj, Keerthi (DI SW ICS DVT CSF DV FS)" userId="a61e6969-d85e-42d5-913e-c7fe6fb96353" providerId="ADAL" clId="{DDC5853D-AC23-47BD-A462-B07CB2FB084E}" dt="2024-06-06T10:41:11.962" v="2303" actId="47"/>
        <pc:sldMkLst>
          <pc:docMk/>
          <pc:sldMk cId="943905747" sldId="1213"/>
        </pc:sldMkLst>
      </pc:sldChg>
      <pc:sldChg chg="del">
        <pc:chgData name="Devraj, Keerthi (DI SW ICS DVT CSF DV FS)" userId="a61e6969-d85e-42d5-913e-c7fe6fb96353" providerId="ADAL" clId="{DDC5853D-AC23-47BD-A462-B07CB2FB084E}" dt="2024-06-06T10:41:09.826" v="2302" actId="47"/>
        <pc:sldMkLst>
          <pc:docMk/>
          <pc:sldMk cId="2950444623" sldId="1214"/>
        </pc:sldMkLst>
      </pc:sldChg>
      <pc:sldChg chg="del">
        <pc:chgData name="Devraj, Keerthi (DI SW ICS DVT CSF DV FS)" userId="a61e6969-d85e-42d5-913e-c7fe6fb96353" providerId="ADAL" clId="{DDC5853D-AC23-47BD-A462-B07CB2FB084E}" dt="2024-06-06T10:41:09.826" v="2302" actId="47"/>
        <pc:sldMkLst>
          <pc:docMk/>
          <pc:sldMk cId="1349099410" sldId="1215"/>
        </pc:sldMkLst>
      </pc:sldChg>
      <pc:sldChg chg="del">
        <pc:chgData name="Devraj, Keerthi (DI SW ICS DVT CSF DV FS)" userId="a61e6969-d85e-42d5-913e-c7fe6fb96353" providerId="ADAL" clId="{DDC5853D-AC23-47BD-A462-B07CB2FB084E}" dt="2024-06-06T10:41:09.826" v="2302" actId="47"/>
        <pc:sldMkLst>
          <pc:docMk/>
          <pc:sldMk cId="1286574319" sldId="1217"/>
        </pc:sldMkLst>
      </pc:sldChg>
      <pc:sldChg chg="del">
        <pc:chgData name="Devraj, Keerthi (DI SW ICS DVT CSF DV FS)" userId="a61e6969-d85e-42d5-913e-c7fe6fb96353" providerId="ADAL" clId="{DDC5853D-AC23-47BD-A462-B07CB2FB084E}" dt="2024-06-06T10:41:13.135" v="2304" actId="47"/>
        <pc:sldMkLst>
          <pc:docMk/>
          <pc:sldMk cId="1547506489" sldId="1218"/>
        </pc:sldMkLst>
      </pc:sldChg>
      <pc:sldChg chg="del">
        <pc:chgData name="Devraj, Keerthi (DI SW ICS DVT CSF DV FS)" userId="a61e6969-d85e-42d5-913e-c7fe6fb96353" providerId="ADAL" clId="{DDC5853D-AC23-47BD-A462-B07CB2FB084E}" dt="2024-06-06T10:47:18.213" v="2515" actId="47"/>
        <pc:sldMkLst>
          <pc:docMk/>
          <pc:sldMk cId="1037651601" sldId="1219"/>
        </pc:sldMkLst>
      </pc:sldChg>
      <pc:sldChg chg="del">
        <pc:chgData name="Devraj, Keerthi (DI SW ICS DVT CSF DV FS)" userId="a61e6969-d85e-42d5-913e-c7fe6fb96353" providerId="ADAL" clId="{DDC5853D-AC23-47BD-A462-B07CB2FB084E}" dt="2024-06-06T10:47:18.213" v="2515" actId="47"/>
        <pc:sldMkLst>
          <pc:docMk/>
          <pc:sldMk cId="3315039990" sldId="1220"/>
        </pc:sldMkLst>
      </pc:sldChg>
      <pc:sldChg chg="del">
        <pc:chgData name="Devraj, Keerthi (DI SW ICS DVT CSF DV FS)" userId="a61e6969-d85e-42d5-913e-c7fe6fb96353" providerId="ADAL" clId="{DDC5853D-AC23-47BD-A462-B07CB2FB084E}" dt="2024-06-06T10:47:18.213" v="2515" actId="47"/>
        <pc:sldMkLst>
          <pc:docMk/>
          <pc:sldMk cId="83392790" sldId="1221"/>
        </pc:sldMkLst>
      </pc:sldChg>
      <pc:sldChg chg="del">
        <pc:chgData name="Devraj, Keerthi (DI SW ICS DVT CSF DV FS)" userId="a61e6969-d85e-42d5-913e-c7fe6fb96353" providerId="ADAL" clId="{DDC5853D-AC23-47BD-A462-B07CB2FB084E}" dt="2024-06-06T10:47:18.213" v="2515" actId="47"/>
        <pc:sldMkLst>
          <pc:docMk/>
          <pc:sldMk cId="145722136" sldId="1222"/>
        </pc:sldMkLst>
      </pc:sldChg>
      <pc:sldChg chg="del">
        <pc:chgData name="Devraj, Keerthi (DI SW ICS DVT CSF DV FS)" userId="a61e6969-d85e-42d5-913e-c7fe6fb96353" providerId="ADAL" clId="{DDC5853D-AC23-47BD-A462-B07CB2FB084E}" dt="2024-06-06T10:47:18.213" v="2515" actId="47"/>
        <pc:sldMkLst>
          <pc:docMk/>
          <pc:sldMk cId="1067733080" sldId="1223"/>
        </pc:sldMkLst>
      </pc:sldChg>
      <pc:sldChg chg="del">
        <pc:chgData name="Devraj, Keerthi (DI SW ICS DVT CSF DV FS)" userId="a61e6969-d85e-42d5-913e-c7fe6fb96353" providerId="ADAL" clId="{DDC5853D-AC23-47BD-A462-B07CB2FB084E}" dt="2024-06-06T10:47:18.213" v="2515" actId="47"/>
        <pc:sldMkLst>
          <pc:docMk/>
          <pc:sldMk cId="54858998" sldId="1224"/>
        </pc:sldMkLst>
      </pc:sldChg>
      <pc:sldChg chg="del">
        <pc:chgData name="Devraj, Keerthi (DI SW ICS DVT CSF DV FS)" userId="a61e6969-d85e-42d5-913e-c7fe6fb96353" providerId="ADAL" clId="{DDC5853D-AC23-47BD-A462-B07CB2FB084E}" dt="2024-06-06T10:47:18.213" v="2515" actId="47"/>
        <pc:sldMkLst>
          <pc:docMk/>
          <pc:sldMk cId="1175154319" sldId="1225"/>
        </pc:sldMkLst>
      </pc:sldChg>
      <pc:sldChg chg="del">
        <pc:chgData name="Devraj, Keerthi (DI SW ICS DVT CSF DV FS)" userId="a61e6969-d85e-42d5-913e-c7fe6fb96353" providerId="ADAL" clId="{DDC5853D-AC23-47BD-A462-B07CB2FB084E}" dt="2024-06-06T10:47:18.213" v="2515" actId="47"/>
        <pc:sldMkLst>
          <pc:docMk/>
          <pc:sldMk cId="3831025926" sldId="1226"/>
        </pc:sldMkLst>
      </pc:sldChg>
      <pc:sldChg chg="del">
        <pc:chgData name="Devraj, Keerthi (DI SW ICS DVT CSF DV FS)" userId="a61e6969-d85e-42d5-913e-c7fe6fb96353" providerId="ADAL" clId="{DDC5853D-AC23-47BD-A462-B07CB2FB084E}" dt="2024-06-06T10:47:18.213" v="2515" actId="47"/>
        <pc:sldMkLst>
          <pc:docMk/>
          <pc:sldMk cId="960115209" sldId="1227"/>
        </pc:sldMkLst>
      </pc:sldChg>
      <pc:sldChg chg="del">
        <pc:chgData name="Devraj, Keerthi (DI SW ICS DVT CSF DV FS)" userId="a61e6969-d85e-42d5-913e-c7fe6fb96353" providerId="ADAL" clId="{DDC5853D-AC23-47BD-A462-B07CB2FB084E}" dt="2024-06-06T10:47:18.213" v="2515" actId="47"/>
        <pc:sldMkLst>
          <pc:docMk/>
          <pc:sldMk cId="1054932334" sldId="1228"/>
        </pc:sldMkLst>
      </pc:sldChg>
      <pc:sldChg chg="del">
        <pc:chgData name="Devraj, Keerthi (DI SW ICS DVT CSF DV FS)" userId="a61e6969-d85e-42d5-913e-c7fe6fb96353" providerId="ADAL" clId="{DDC5853D-AC23-47BD-A462-B07CB2FB084E}" dt="2024-06-06T10:47:18.213" v="2515" actId="47"/>
        <pc:sldMkLst>
          <pc:docMk/>
          <pc:sldMk cId="2660355366" sldId="1229"/>
        </pc:sldMkLst>
      </pc:sldChg>
      <pc:sldChg chg="del">
        <pc:chgData name="Devraj, Keerthi (DI SW ICS DVT CSF DV FS)" userId="a61e6969-d85e-42d5-913e-c7fe6fb96353" providerId="ADAL" clId="{DDC5853D-AC23-47BD-A462-B07CB2FB084E}" dt="2024-06-06T10:47:18.213" v="2515" actId="47"/>
        <pc:sldMkLst>
          <pc:docMk/>
          <pc:sldMk cId="2177735015" sldId="1230"/>
        </pc:sldMkLst>
      </pc:sldChg>
      <pc:sldChg chg="del">
        <pc:chgData name="Devraj, Keerthi (DI SW ICS DVT CSF DV FS)" userId="a61e6969-d85e-42d5-913e-c7fe6fb96353" providerId="ADAL" clId="{DDC5853D-AC23-47BD-A462-B07CB2FB084E}" dt="2024-06-06T10:47:18.213" v="2515" actId="47"/>
        <pc:sldMkLst>
          <pc:docMk/>
          <pc:sldMk cId="531919816" sldId="1231"/>
        </pc:sldMkLst>
      </pc:sldChg>
      <pc:sldChg chg="del">
        <pc:chgData name="Devraj, Keerthi (DI SW ICS DVT CSF DV FS)" userId="a61e6969-d85e-42d5-913e-c7fe6fb96353" providerId="ADAL" clId="{DDC5853D-AC23-47BD-A462-B07CB2FB084E}" dt="2024-06-06T10:47:18.213" v="2515" actId="47"/>
        <pc:sldMkLst>
          <pc:docMk/>
          <pc:sldMk cId="2600413322" sldId="1232"/>
        </pc:sldMkLst>
      </pc:sldChg>
      <pc:sldChg chg="del">
        <pc:chgData name="Devraj, Keerthi (DI SW ICS DVT CSF DV FS)" userId="a61e6969-d85e-42d5-913e-c7fe6fb96353" providerId="ADAL" clId="{DDC5853D-AC23-47BD-A462-B07CB2FB084E}" dt="2024-06-06T11:00:25.294" v="3248" actId="47"/>
        <pc:sldMkLst>
          <pc:docMk/>
          <pc:sldMk cId="2356837834" sldId="1233"/>
        </pc:sldMkLst>
      </pc:sldChg>
      <pc:sldChg chg="del">
        <pc:chgData name="Devraj, Keerthi (DI SW ICS DVT CSF DV FS)" userId="a61e6969-d85e-42d5-913e-c7fe6fb96353" providerId="ADAL" clId="{DDC5853D-AC23-47BD-A462-B07CB2FB084E}" dt="2024-06-06T11:00:23.378" v="3247" actId="47"/>
        <pc:sldMkLst>
          <pc:docMk/>
          <pc:sldMk cId="2222581861" sldId="1234"/>
        </pc:sldMkLst>
      </pc:sldChg>
      <pc:sldChg chg="addSp modSp del mod">
        <pc:chgData name="Devraj, Keerthi (DI SW ICS DVT CSF DV FS)" userId="a61e6969-d85e-42d5-913e-c7fe6fb96353" providerId="ADAL" clId="{DDC5853D-AC23-47BD-A462-B07CB2FB084E}" dt="2024-06-06T11:00:16.209" v="3244" actId="47"/>
        <pc:sldMkLst>
          <pc:docMk/>
          <pc:sldMk cId="3569650701" sldId="1235"/>
        </pc:sldMkLst>
        <pc:graphicFrameChg chg="mod modGraphic">
          <ac:chgData name="Devraj, Keerthi (DI SW ICS DVT CSF DV FS)" userId="a61e6969-d85e-42d5-913e-c7fe6fb96353" providerId="ADAL" clId="{DDC5853D-AC23-47BD-A462-B07CB2FB084E}" dt="2024-06-06T11:00:04.335" v="3243"/>
          <ac:graphicFrameMkLst>
            <pc:docMk/>
            <pc:sldMk cId="3569650701" sldId="1235"/>
            <ac:graphicFrameMk id="2" creationId="{F93504DB-5542-1968-CA29-07F71F117111}"/>
          </ac:graphicFrameMkLst>
        </pc:graphicFrameChg>
        <pc:graphicFrameChg chg="add mod">
          <ac:chgData name="Devraj, Keerthi (DI SW ICS DVT CSF DV FS)" userId="a61e6969-d85e-42d5-913e-c7fe6fb96353" providerId="ADAL" clId="{DDC5853D-AC23-47BD-A462-B07CB2FB084E}" dt="2024-06-06T10:59:56.860" v="3240" actId="1076"/>
          <ac:graphicFrameMkLst>
            <pc:docMk/>
            <pc:sldMk cId="3569650701" sldId="1235"/>
            <ac:graphicFrameMk id="4" creationId="{4068AA24-D104-5C1A-6072-A51029DBFA34}"/>
          </ac:graphicFrameMkLst>
        </pc:graphicFrameChg>
      </pc:sldChg>
      <pc:sldChg chg="addSp delSp modSp add mod modNotesTx">
        <pc:chgData name="Devraj, Keerthi (DI SW ICS DVT CSF DV FS)" userId="a61e6969-d85e-42d5-913e-c7fe6fb96353" providerId="ADAL" clId="{DDC5853D-AC23-47BD-A462-B07CB2FB084E}" dt="2024-06-07T09:15:18.611" v="4253" actId="5793"/>
        <pc:sldMkLst>
          <pc:docMk/>
          <pc:sldMk cId="2122793531" sldId="1236"/>
        </pc:sldMkLst>
        <pc:spChg chg="mod">
          <ac:chgData name="Devraj, Keerthi (DI SW ICS DVT CSF DV FS)" userId="a61e6969-d85e-42d5-913e-c7fe6fb96353" providerId="ADAL" clId="{DDC5853D-AC23-47BD-A462-B07CB2FB084E}" dt="2024-06-07T07:33:14.904" v="3467" actId="6549"/>
          <ac:spMkLst>
            <pc:docMk/>
            <pc:sldMk cId="2122793531" sldId="1236"/>
            <ac:spMk id="2" creationId="{30A59CE0-18CE-9447-F486-84039784745F}"/>
          </ac:spMkLst>
        </pc:spChg>
        <pc:spChg chg="del">
          <ac:chgData name="Devraj, Keerthi (DI SW ICS DVT CSF DV FS)" userId="a61e6969-d85e-42d5-913e-c7fe6fb96353" providerId="ADAL" clId="{DDC5853D-AC23-47BD-A462-B07CB2FB084E}" dt="2024-06-06T07:50:13.477" v="165" actId="478"/>
          <ac:spMkLst>
            <pc:docMk/>
            <pc:sldMk cId="2122793531" sldId="1236"/>
            <ac:spMk id="11" creationId="{84E06F75-E8F1-689B-7A45-AF3B5C199EF1}"/>
          </ac:spMkLst>
        </pc:spChg>
        <pc:spChg chg="del">
          <ac:chgData name="Devraj, Keerthi (DI SW ICS DVT CSF DV FS)" userId="a61e6969-d85e-42d5-913e-c7fe6fb96353" providerId="ADAL" clId="{DDC5853D-AC23-47BD-A462-B07CB2FB084E}" dt="2024-06-06T07:50:13.477" v="165" actId="478"/>
          <ac:spMkLst>
            <pc:docMk/>
            <pc:sldMk cId="2122793531" sldId="1236"/>
            <ac:spMk id="12" creationId="{D315D5F3-5896-9B6E-96A8-8005CE403D33}"/>
          </ac:spMkLst>
        </pc:spChg>
        <pc:spChg chg="del">
          <ac:chgData name="Devraj, Keerthi (DI SW ICS DVT CSF DV FS)" userId="a61e6969-d85e-42d5-913e-c7fe6fb96353" providerId="ADAL" clId="{DDC5853D-AC23-47BD-A462-B07CB2FB084E}" dt="2024-06-06T07:50:13.477" v="165" actId="478"/>
          <ac:spMkLst>
            <pc:docMk/>
            <pc:sldMk cId="2122793531" sldId="1236"/>
            <ac:spMk id="13" creationId="{66EDF46D-C444-1F33-104F-13D11A9CFE50}"/>
          </ac:spMkLst>
        </pc:spChg>
        <pc:spChg chg="del">
          <ac:chgData name="Devraj, Keerthi (DI SW ICS DVT CSF DV FS)" userId="a61e6969-d85e-42d5-913e-c7fe6fb96353" providerId="ADAL" clId="{DDC5853D-AC23-47BD-A462-B07CB2FB084E}" dt="2024-06-06T07:50:13.477" v="165" actId="478"/>
          <ac:spMkLst>
            <pc:docMk/>
            <pc:sldMk cId="2122793531" sldId="1236"/>
            <ac:spMk id="14" creationId="{D6C816E8-C8C8-214C-74A1-33D0FBEF25AD}"/>
          </ac:spMkLst>
        </pc:spChg>
        <pc:spChg chg="del">
          <ac:chgData name="Devraj, Keerthi (DI SW ICS DVT CSF DV FS)" userId="a61e6969-d85e-42d5-913e-c7fe6fb96353" providerId="ADAL" clId="{DDC5853D-AC23-47BD-A462-B07CB2FB084E}" dt="2024-06-06T07:50:13.477" v="165" actId="478"/>
          <ac:spMkLst>
            <pc:docMk/>
            <pc:sldMk cId="2122793531" sldId="1236"/>
            <ac:spMk id="15" creationId="{A142D7E8-7CA8-00FD-2081-BC811594202A}"/>
          </ac:spMkLst>
        </pc:spChg>
        <pc:spChg chg="del">
          <ac:chgData name="Devraj, Keerthi (DI SW ICS DVT CSF DV FS)" userId="a61e6969-d85e-42d5-913e-c7fe6fb96353" providerId="ADAL" clId="{DDC5853D-AC23-47BD-A462-B07CB2FB084E}" dt="2024-06-06T07:50:13.477" v="165" actId="478"/>
          <ac:spMkLst>
            <pc:docMk/>
            <pc:sldMk cId="2122793531" sldId="1236"/>
            <ac:spMk id="16" creationId="{C5C84DC4-567E-119F-64AF-1045ED4B2C89}"/>
          </ac:spMkLst>
        </pc:spChg>
        <pc:spChg chg="add del mod">
          <ac:chgData name="Devraj, Keerthi (DI SW ICS DVT CSF DV FS)" userId="a61e6969-d85e-42d5-913e-c7fe6fb96353" providerId="ADAL" clId="{DDC5853D-AC23-47BD-A462-B07CB2FB084E}" dt="2024-06-06T07:51:14.980" v="177" actId="1076"/>
          <ac:spMkLst>
            <pc:docMk/>
            <pc:sldMk cId="2122793531" sldId="1236"/>
            <ac:spMk id="25" creationId="{4CD56C0E-F1ED-B536-95E9-99561C890EF9}"/>
          </ac:spMkLst>
        </pc:spChg>
        <pc:spChg chg="add">
          <ac:chgData name="Devraj, Keerthi (DI SW ICS DVT CSF DV FS)" userId="a61e6969-d85e-42d5-913e-c7fe6fb96353" providerId="ADAL" clId="{DDC5853D-AC23-47BD-A462-B07CB2FB084E}" dt="2024-06-06T07:50:41.311" v="168"/>
          <ac:spMkLst>
            <pc:docMk/>
            <pc:sldMk cId="2122793531" sldId="1236"/>
            <ac:spMk id="26" creationId="{5EFB215B-005E-4CAE-2BAC-5D5D94BA6E62}"/>
          </ac:spMkLst>
        </pc:spChg>
        <pc:spChg chg="add">
          <ac:chgData name="Devraj, Keerthi (DI SW ICS DVT CSF DV FS)" userId="a61e6969-d85e-42d5-913e-c7fe6fb96353" providerId="ADAL" clId="{DDC5853D-AC23-47BD-A462-B07CB2FB084E}" dt="2024-06-06T07:50:46.633" v="169"/>
          <ac:spMkLst>
            <pc:docMk/>
            <pc:sldMk cId="2122793531" sldId="1236"/>
            <ac:spMk id="27" creationId="{94488921-DC92-640D-2A20-229F3199614C}"/>
          </ac:spMkLst>
        </pc:spChg>
        <pc:spChg chg="add">
          <ac:chgData name="Devraj, Keerthi (DI SW ICS DVT CSF DV FS)" userId="a61e6969-d85e-42d5-913e-c7fe6fb96353" providerId="ADAL" clId="{DDC5853D-AC23-47BD-A462-B07CB2FB084E}" dt="2024-06-06T07:50:49.600" v="170"/>
          <ac:spMkLst>
            <pc:docMk/>
            <pc:sldMk cId="2122793531" sldId="1236"/>
            <ac:spMk id="28" creationId="{AAE26470-73BA-F1F5-C85F-7A6F379616C0}"/>
          </ac:spMkLst>
        </pc:spChg>
        <pc:spChg chg="add del mod">
          <ac:chgData name="Devraj, Keerthi (DI SW ICS DVT CSF DV FS)" userId="a61e6969-d85e-42d5-913e-c7fe6fb96353" providerId="ADAL" clId="{DDC5853D-AC23-47BD-A462-B07CB2FB084E}" dt="2024-06-07T09:15:18.611" v="4253" actId="5793"/>
          <ac:spMkLst>
            <pc:docMk/>
            <pc:sldMk cId="2122793531" sldId="1236"/>
            <ac:spMk id="29" creationId="{FDFA0DA7-E6A5-AA06-E079-65D0C1BEA69C}"/>
          </ac:spMkLst>
        </pc:spChg>
        <pc:grpChg chg="del">
          <ac:chgData name="Devraj, Keerthi (DI SW ICS DVT CSF DV FS)" userId="a61e6969-d85e-42d5-913e-c7fe6fb96353" providerId="ADAL" clId="{DDC5853D-AC23-47BD-A462-B07CB2FB084E}" dt="2024-06-06T07:50:11.126" v="164" actId="478"/>
          <ac:grpSpMkLst>
            <pc:docMk/>
            <pc:sldMk cId="2122793531" sldId="1236"/>
            <ac:grpSpMk id="17" creationId="{39FCC1CF-AAA2-7807-7748-B3D62C0A063B}"/>
          </ac:grpSpMkLst>
        </pc:grpChg>
        <pc:picChg chg="del">
          <ac:chgData name="Devraj, Keerthi (DI SW ICS DVT CSF DV FS)" userId="a61e6969-d85e-42d5-913e-c7fe6fb96353" providerId="ADAL" clId="{DDC5853D-AC23-47BD-A462-B07CB2FB084E}" dt="2024-06-06T07:50:10.119" v="163" actId="478"/>
          <ac:picMkLst>
            <pc:docMk/>
            <pc:sldMk cId="2122793531" sldId="1236"/>
            <ac:picMk id="4" creationId="{CBA59E51-E601-F333-D97D-3190696F31FB}"/>
          </ac:picMkLst>
        </pc:picChg>
        <pc:picChg chg="add mod">
          <ac:chgData name="Devraj, Keerthi (DI SW ICS DVT CSF DV FS)" userId="a61e6969-d85e-42d5-913e-c7fe6fb96353" providerId="ADAL" clId="{DDC5853D-AC23-47BD-A462-B07CB2FB084E}" dt="2024-06-06T07:53:47.511" v="203" actId="14100"/>
          <ac:picMkLst>
            <pc:docMk/>
            <pc:sldMk cId="2122793531" sldId="1236"/>
            <ac:picMk id="30" creationId="{8582BB0A-4E08-7F9C-0600-225D77648B45}"/>
          </ac:picMkLst>
        </pc:picChg>
        <pc:cxnChg chg="del">
          <ac:chgData name="Devraj, Keerthi (DI SW ICS DVT CSF DV FS)" userId="a61e6969-d85e-42d5-913e-c7fe6fb96353" providerId="ADAL" clId="{DDC5853D-AC23-47BD-A462-B07CB2FB084E}" dt="2024-06-06T07:50:13.477" v="165" actId="478"/>
          <ac:cxnSpMkLst>
            <pc:docMk/>
            <pc:sldMk cId="2122793531" sldId="1236"/>
            <ac:cxnSpMk id="5" creationId="{026F336B-A284-8CBF-F652-9B3D9150755F}"/>
          </ac:cxnSpMkLst>
        </pc:cxnChg>
        <pc:cxnChg chg="del">
          <ac:chgData name="Devraj, Keerthi (DI SW ICS DVT CSF DV FS)" userId="a61e6969-d85e-42d5-913e-c7fe6fb96353" providerId="ADAL" clId="{DDC5853D-AC23-47BD-A462-B07CB2FB084E}" dt="2024-06-06T07:50:13.477" v="165" actId="478"/>
          <ac:cxnSpMkLst>
            <pc:docMk/>
            <pc:sldMk cId="2122793531" sldId="1236"/>
            <ac:cxnSpMk id="6" creationId="{833061B8-E168-5DC1-6FFB-357FFCE6521B}"/>
          </ac:cxnSpMkLst>
        </pc:cxnChg>
        <pc:cxnChg chg="del">
          <ac:chgData name="Devraj, Keerthi (DI SW ICS DVT CSF DV FS)" userId="a61e6969-d85e-42d5-913e-c7fe6fb96353" providerId="ADAL" clId="{DDC5853D-AC23-47BD-A462-B07CB2FB084E}" dt="2024-06-06T07:50:13.477" v="165" actId="478"/>
          <ac:cxnSpMkLst>
            <pc:docMk/>
            <pc:sldMk cId="2122793531" sldId="1236"/>
            <ac:cxnSpMk id="7" creationId="{8EFF3DB5-7F6E-A22C-BC32-0B2BAD41994D}"/>
          </ac:cxnSpMkLst>
        </pc:cxnChg>
        <pc:cxnChg chg="del">
          <ac:chgData name="Devraj, Keerthi (DI SW ICS DVT CSF DV FS)" userId="a61e6969-d85e-42d5-913e-c7fe6fb96353" providerId="ADAL" clId="{DDC5853D-AC23-47BD-A462-B07CB2FB084E}" dt="2024-06-06T07:50:13.477" v="165" actId="478"/>
          <ac:cxnSpMkLst>
            <pc:docMk/>
            <pc:sldMk cId="2122793531" sldId="1236"/>
            <ac:cxnSpMk id="8" creationId="{1E0EC20A-FF8B-291C-8A08-730F13CF060B}"/>
          </ac:cxnSpMkLst>
        </pc:cxnChg>
        <pc:cxnChg chg="del">
          <ac:chgData name="Devraj, Keerthi (DI SW ICS DVT CSF DV FS)" userId="a61e6969-d85e-42d5-913e-c7fe6fb96353" providerId="ADAL" clId="{DDC5853D-AC23-47BD-A462-B07CB2FB084E}" dt="2024-06-06T07:50:13.477" v="165" actId="478"/>
          <ac:cxnSpMkLst>
            <pc:docMk/>
            <pc:sldMk cId="2122793531" sldId="1236"/>
            <ac:cxnSpMk id="9" creationId="{D8229452-E7E3-CBF1-6FDA-8D4DA696789B}"/>
          </ac:cxnSpMkLst>
        </pc:cxnChg>
        <pc:cxnChg chg="del">
          <ac:chgData name="Devraj, Keerthi (DI SW ICS DVT CSF DV FS)" userId="a61e6969-d85e-42d5-913e-c7fe6fb96353" providerId="ADAL" clId="{DDC5853D-AC23-47BD-A462-B07CB2FB084E}" dt="2024-06-06T07:50:13.477" v="165" actId="478"/>
          <ac:cxnSpMkLst>
            <pc:docMk/>
            <pc:sldMk cId="2122793531" sldId="1236"/>
            <ac:cxnSpMk id="10" creationId="{95714C94-51B4-5356-47C9-9BE04BC88796}"/>
          </ac:cxnSpMkLst>
        </pc:cxnChg>
      </pc:sldChg>
      <pc:sldChg chg="addSp delSp modSp add mod">
        <pc:chgData name="Devraj, Keerthi (DI SW ICS DVT CSF DV FS)" userId="a61e6969-d85e-42d5-913e-c7fe6fb96353" providerId="ADAL" clId="{DDC5853D-AC23-47BD-A462-B07CB2FB084E}" dt="2024-06-07T09:48:28.738" v="5734" actId="1076"/>
        <pc:sldMkLst>
          <pc:docMk/>
          <pc:sldMk cId="3957345960" sldId="1237"/>
        </pc:sldMkLst>
        <pc:spChg chg="mod">
          <ac:chgData name="Devraj, Keerthi (DI SW ICS DVT CSF DV FS)" userId="a61e6969-d85e-42d5-913e-c7fe6fb96353" providerId="ADAL" clId="{DDC5853D-AC23-47BD-A462-B07CB2FB084E}" dt="2024-06-06T10:32:12.701" v="2045" actId="403"/>
          <ac:spMkLst>
            <pc:docMk/>
            <pc:sldMk cId="3957345960" sldId="1237"/>
            <ac:spMk id="2" creationId="{30A59CE0-18CE-9447-F486-84039784745F}"/>
          </ac:spMkLst>
        </pc:spChg>
        <pc:spChg chg="add mod">
          <ac:chgData name="Devraj, Keerthi (DI SW ICS DVT CSF DV FS)" userId="a61e6969-d85e-42d5-913e-c7fe6fb96353" providerId="ADAL" clId="{DDC5853D-AC23-47BD-A462-B07CB2FB084E}" dt="2024-06-06T08:29:40.724" v="236" actId="14100"/>
          <ac:spMkLst>
            <pc:docMk/>
            <pc:sldMk cId="3957345960" sldId="1237"/>
            <ac:spMk id="4" creationId="{17F4C33B-2A32-C33A-0AF0-0C160BBD8291}"/>
          </ac:spMkLst>
        </pc:spChg>
        <pc:spChg chg="add del mod">
          <ac:chgData name="Devraj, Keerthi (DI SW ICS DVT CSF DV FS)" userId="a61e6969-d85e-42d5-913e-c7fe6fb96353" providerId="ADAL" clId="{DDC5853D-AC23-47BD-A462-B07CB2FB084E}" dt="2024-06-06T09:32:08.828" v="533" actId="478"/>
          <ac:spMkLst>
            <pc:docMk/>
            <pc:sldMk cId="3957345960" sldId="1237"/>
            <ac:spMk id="7" creationId="{E08093A1-8533-9112-6535-0EB411F861BB}"/>
          </ac:spMkLst>
        </pc:spChg>
        <pc:spChg chg="add del mod">
          <ac:chgData name="Devraj, Keerthi (DI SW ICS DVT CSF DV FS)" userId="a61e6969-d85e-42d5-913e-c7fe6fb96353" providerId="ADAL" clId="{DDC5853D-AC23-47BD-A462-B07CB2FB084E}" dt="2024-06-06T09:32:08.828" v="533" actId="478"/>
          <ac:spMkLst>
            <pc:docMk/>
            <pc:sldMk cId="3957345960" sldId="1237"/>
            <ac:spMk id="13" creationId="{B5A601A1-B1D1-B830-9514-255409E73339}"/>
          </ac:spMkLst>
        </pc:spChg>
        <pc:spChg chg="mod">
          <ac:chgData name="Devraj, Keerthi (DI SW ICS DVT CSF DV FS)" userId="a61e6969-d85e-42d5-913e-c7fe6fb96353" providerId="ADAL" clId="{DDC5853D-AC23-47BD-A462-B07CB2FB084E}" dt="2024-06-07T09:48:14.941" v="5732" actId="20577"/>
          <ac:spMkLst>
            <pc:docMk/>
            <pc:sldMk cId="3957345960" sldId="1237"/>
            <ac:spMk id="29" creationId="{FDFA0DA7-E6A5-AA06-E079-65D0C1BEA69C}"/>
          </ac:spMkLst>
        </pc:spChg>
        <pc:picChg chg="add del mod">
          <ac:chgData name="Devraj, Keerthi (DI SW ICS DVT CSF DV FS)" userId="a61e6969-d85e-42d5-913e-c7fe6fb96353" providerId="ADAL" clId="{DDC5853D-AC23-47BD-A462-B07CB2FB084E}" dt="2024-06-06T09:25:44.854" v="440" actId="478"/>
          <ac:picMkLst>
            <pc:docMk/>
            <pc:sldMk cId="3957345960" sldId="1237"/>
            <ac:picMk id="5" creationId="{22210724-4829-C6FA-8755-ABDC58B3B940}"/>
          </ac:picMkLst>
        </pc:picChg>
        <pc:picChg chg="add del mod">
          <ac:chgData name="Devraj, Keerthi (DI SW ICS DVT CSF DV FS)" userId="a61e6969-d85e-42d5-913e-c7fe6fb96353" providerId="ADAL" clId="{DDC5853D-AC23-47BD-A462-B07CB2FB084E}" dt="2024-06-06T09:30:51.017" v="491" actId="478"/>
          <ac:picMkLst>
            <pc:docMk/>
            <pc:sldMk cId="3957345960" sldId="1237"/>
            <ac:picMk id="6" creationId="{64ECE30D-6F9C-94EA-A6A1-7F6577AA5098}"/>
          </ac:picMkLst>
        </pc:picChg>
        <pc:picChg chg="add del mod">
          <ac:chgData name="Devraj, Keerthi (DI SW ICS DVT CSF DV FS)" userId="a61e6969-d85e-42d5-913e-c7fe6fb96353" providerId="ADAL" clId="{DDC5853D-AC23-47BD-A462-B07CB2FB084E}" dt="2024-06-06T10:32:28.422" v="2047" actId="478"/>
          <ac:picMkLst>
            <pc:docMk/>
            <pc:sldMk cId="3957345960" sldId="1237"/>
            <ac:picMk id="14" creationId="{CFF7F4B8-FC20-F577-4C2B-F6BCE38E3626}"/>
          </ac:picMkLst>
        </pc:picChg>
        <pc:picChg chg="add mod">
          <ac:chgData name="Devraj, Keerthi (DI SW ICS DVT CSF DV FS)" userId="a61e6969-d85e-42d5-913e-c7fe6fb96353" providerId="ADAL" clId="{DDC5853D-AC23-47BD-A462-B07CB2FB084E}" dt="2024-06-07T09:48:28.738" v="5734" actId="1076"/>
          <ac:picMkLst>
            <pc:docMk/>
            <pc:sldMk cId="3957345960" sldId="1237"/>
            <ac:picMk id="15" creationId="{FBBF5553-E67E-B1A9-41D8-402F529072B9}"/>
          </ac:picMkLst>
        </pc:picChg>
        <pc:picChg chg="del">
          <ac:chgData name="Devraj, Keerthi (DI SW ICS DVT CSF DV FS)" userId="a61e6969-d85e-42d5-913e-c7fe6fb96353" providerId="ADAL" clId="{DDC5853D-AC23-47BD-A462-B07CB2FB084E}" dt="2024-06-06T08:31:01.323" v="261" actId="478"/>
          <ac:picMkLst>
            <pc:docMk/>
            <pc:sldMk cId="3957345960" sldId="1237"/>
            <ac:picMk id="30" creationId="{8582BB0A-4E08-7F9C-0600-225D77648B45}"/>
          </ac:picMkLst>
        </pc:picChg>
        <pc:cxnChg chg="add del mod">
          <ac:chgData name="Devraj, Keerthi (DI SW ICS DVT CSF DV FS)" userId="a61e6969-d85e-42d5-913e-c7fe6fb96353" providerId="ADAL" clId="{DDC5853D-AC23-47BD-A462-B07CB2FB084E}" dt="2024-06-06T09:32:08.828" v="533" actId="478"/>
          <ac:cxnSpMkLst>
            <pc:docMk/>
            <pc:sldMk cId="3957345960" sldId="1237"/>
            <ac:cxnSpMk id="9" creationId="{41B94C63-6980-4388-6E8E-51B912A12C8D}"/>
          </ac:cxnSpMkLst>
        </pc:cxnChg>
      </pc:sldChg>
      <pc:sldChg chg="modSp add mod">
        <pc:chgData name="Devraj, Keerthi (DI SW ICS DVT CSF DV FS)" userId="a61e6969-d85e-42d5-913e-c7fe6fb96353" providerId="ADAL" clId="{DDC5853D-AC23-47BD-A462-B07CB2FB084E}" dt="2024-06-06T09:46:58.104" v="1012" actId="404"/>
        <pc:sldMkLst>
          <pc:docMk/>
          <pc:sldMk cId="3444151140" sldId="1238"/>
        </pc:sldMkLst>
        <pc:spChg chg="mod">
          <ac:chgData name="Devraj, Keerthi (DI SW ICS DVT CSF DV FS)" userId="a61e6969-d85e-42d5-913e-c7fe6fb96353" providerId="ADAL" clId="{DDC5853D-AC23-47BD-A462-B07CB2FB084E}" dt="2024-06-06T09:46:58.104" v="1012" actId="404"/>
          <ac:spMkLst>
            <pc:docMk/>
            <pc:sldMk cId="3444151140" sldId="1238"/>
            <ac:spMk id="2" creationId="{BCFDC814-8F03-898A-B6E0-24DBD939DD3A}"/>
          </ac:spMkLst>
        </pc:spChg>
        <pc:spChg chg="mod">
          <ac:chgData name="Devraj, Keerthi (DI SW ICS DVT CSF DV FS)" userId="a61e6969-d85e-42d5-913e-c7fe6fb96353" providerId="ADAL" clId="{DDC5853D-AC23-47BD-A462-B07CB2FB084E}" dt="2024-06-06T09:46:11.364" v="1007" actId="404"/>
          <ac:spMkLst>
            <pc:docMk/>
            <pc:sldMk cId="3444151140" sldId="1238"/>
            <ac:spMk id="20" creationId="{6C531288-3D8B-EBF5-A06E-CF5E4F62DB35}"/>
          </ac:spMkLst>
        </pc:spChg>
        <pc:spChg chg="mod">
          <ac:chgData name="Devraj, Keerthi (DI SW ICS DVT CSF DV FS)" userId="a61e6969-d85e-42d5-913e-c7fe6fb96353" providerId="ADAL" clId="{DDC5853D-AC23-47BD-A462-B07CB2FB084E}" dt="2024-06-06T09:46:15.472" v="1008" actId="404"/>
          <ac:spMkLst>
            <pc:docMk/>
            <pc:sldMk cId="3444151140" sldId="1238"/>
            <ac:spMk id="21" creationId="{185A0505-BF67-5E78-BBB2-A2A5A1892BA3}"/>
          </ac:spMkLst>
        </pc:spChg>
      </pc:sldChg>
      <pc:sldChg chg="modSp add del mod ord modShow">
        <pc:chgData name="Devraj, Keerthi (DI SW ICS DVT CSF DV FS)" userId="a61e6969-d85e-42d5-913e-c7fe6fb96353" providerId="ADAL" clId="{DDC5853D-AC23-47BD-A462-B07CB2FB084E}" dt="2024-06-06T10:36:25.501" v="2144" actId="729"/>
        <pc:sldMkLst>
          <pc:docMk/>
          <pc:sldMk cId="2931719121" sldId="1239"/>
        </pc:sldMkLst>
        <pc:spChg chg="mod">
          <ac:chgData name="Devraj, Keerthi (DI SW ICS DVT CSF DV FS)" userId="a61e6969-d85e-42d5-913e-c7fe6fb96353" providerId="ADAL" clId="{DDC5853D-AC23-47BD-A462-B07CB2FB084E}" dt="2024-06-06T08:54:30.283" v="304" actId="403"/>
          <ac:spMkLst>
            <pc:docMk/>
            <pc:sldMk cId="2931719121" sldId="1239"/>
            <ac:spMk id="2" creationId="{30A59CE0-18CE-9447-F486-84039784745F}"/>
          </ac:spMkLst>
        </pc:spChg>
      </pc:sldChg>
      <pc:sldChg chg="addSp delSp modSp add mod modNotes modNotesTx">
        <pc:chgData name="Devraj, Keerthi (DI SW ICS DVT CSF DV FS)" userId="a61e6969-d85e-42d5-913e-c7fe6fb96353" providerId="ADAL" clId="{DDC5853D-AC23-47BD-A462-B07CB2FB084E}" dt="2024-06-07T09:36:37.200" v="5698" actId="12"/>
        <pc:sldMkLst>
          <pc:docMk/>
          <pc:sldMk cId="3865248303" sldId="1240"/>
        </pc:sldMkLst>
        <pc:spChg chg="mod">
          <ac:chgData name="Devraj, Keerthi (DI SW ICS DVT CSF DV FS)" userId="a61e6969-d85e-42d5-913e-c7fe6fb96353" providerId="ADAL" clId="{DDC5853D-AC23-47BD-A462-B07CB2FB084E}" dt="2024-06-06T10:01:58.900" v="1533" actId="404"/>
          <ac:spMkLst>
            <pc:docMk/>
            <pc:sldMk cId="3865248303" sldId="1240"/>
            <ac:spMk id="2" creationId="{30A59CE0-18CE-9447-F486-84039784745F}"/>
          </ac:spMkLst>
        </pc:spChg>
        <pc:spChg chg="add del mod">
          <ac:chgData name="Devraj, Keerthi (DI SW ICS DVT CSF DV FS)" userId="a61e6969-d85e-42d5-913e-c7fe6fb96353" providerId="ADAL" clId="{DDC5853D-AC23-47BD-A462-B07CB2FB084E}" dt="2024-06-06T09:33:43.419" v="588" actId="478"/>
          <ac:spMkLst>
            <pc:docMk/>
            <pc:sldMk cId="3865248303" sldId="1240"/>
            <ac:spMk id="4" creationId="{C06E3D9C-B9B0-C1CD-B245-7BEF82E0E6A7}"/>
          </ac:spMkLst>
        </pc:spChg>
        <pc:spChg chg="add del mod">
          <ac:chgData name="Devraj, Keerthi (DI SW ICS DVT CSF DV FS)" userId="a61e6969-d85e-42d5-913e-c7fe6fb96353" providerId="ADAL" clId="{DDC5853D-AC23-47BD-A462-B07CB2FB084E}" dt="2024-06-06T09:34:07.453" v="594" actId="478"/>
          <ac:spMkLst>
            <pc:docMk/>
            <pc:sldMk cId="3865248303" sldId="1240"/>
            <ac:spMk id="6" creationId="{39FE65F8-B002-6062-9BC9-BFA6C6AA0543}"/>
          </ac:spMkLst>
        </pc:spChg>
        <pc:spChg chg="add mod ord">
          <ac:chgData name="Devraj, Keerthi (DI SW ICS DVT CSF DV FS)" userId="a61e6969-d85e-42d5-913e-c7fe6fb96353" providerId="ADAL" clId="{DDC5853D-AC23-47BD-A462-B07CB2FB084E}" dt="2024-06-07T09:18:32.301" v="4411" actId="164"/>
          <ac:spMkLst>
            <pc:docMk/>
            <pc:sldMk cId="3865248303" sldId="1240"/>
            <ac:spMk id="8" creationId="{1BBA389D-4B69-3360-B597-9DF3FB53F29E}"/>
          </ac:spMkLst>
        </pc:spChg>
        <pc:spChg chg="add">
          <ac:chgData name="Devraj, Keerthi (DI SW ICS DVT CSF DV FS)" userId="a61e6969-d85e-42d5-913e-c7fe6fb96353" providerId="ADAL" clId="{DDC5853D-AC23-47BD-A462-B07CB2FB084E}" dt="2024-06-06T09:36:59.947" v="661"/>
          <ac:spMkLst>
            <pc:docMk/>
            <pc:sldMk cId="3865248303" sldId="1240"/>
            <ac:spMk id="9" creationId="{5F5DF05C-35D7-D52C-8078-62AB3DDAFFFE}"/>
          </ac:spMkLst>
        </pc:spChg>
        <pc:spChg chg="add del mod">
          <ac:chgData name="Devraj, Keerthi (DI SW ICS DVT CSF DV FS)" userId="a61e6969-d85e-42d5-913e-c7fe6fb96353" providerId="ADAL" clId="{DDC5853D-AC23-47BD-A462-B07CB2FB084E}" dt="2024-06-06T09:49:06.522" v="1072" actId="478"/>
          <ac:spMkLst>
            <pc:docMk/>
            <pc:sldMk cId="3865248303" sldId="1240"/>
            <ac:spMk id="10" creationId="{50A850EA-B987-11C5-ACAA-858C3C8447E6}"/>
          </ac:spMkLst>
        </pc:spChg>
        <pc:spChg chg="add mod">
          <ac:chgData name="Devraj, Keerthi (DI SW ICS DVT CSF DV FS)" userId="a61e6969-d85e-42d5-913e-c7fe6fb96353" providerId="ADAL" clId="{DDC5853D-AC23-47BD-A462-B07CB2FB084E}" dt="2024-06-07T09:19:51.107" v="4427" actId="692"/>
          <ac:spMkLst>
            <pc:docMk/>
            <pc:sldMk cId="3865248303" sldId="1240"/>
            <ac:spMk id="11" creationId="{679C44C2-355D-C5D9-4D19-9890626A7D33}"/>
          </ac:spMkLst>
        </pc:spChg>
        <pc:spChg chg="add mod">
          <ac:chgData name="Devraj, Keerthi (DI SW ICS DVT CSF DV FS)" userId="a61e6969-d85e-42d5-913e-c7fe6fb96353" providerId="ADAL" clId="{DDC5853D-AC23-47BD-A462-B07CB2FB084E}" dt="2024-06-06T09:59:04.165" v="1440" actId="1076"/>
          <ac:spMkLst>
            <pc:docMk/>
            <pc:sldMk cId="3865248303" sldId="1240"/>
            <ac:spMk id="13" creationId="{143CBD5E-82EE-EC2A-C0E9-B6B11656AD7A}"/>
          </ac:spMkLst>
        </pc:spChg>
        <pc:spChg chg="add mod">
          <ac:chgData name="Devraj, Keerthi (DI SW ICS DVT CSF DV FS)" userId="a61e6969-d85e-42d5-913e-c7fe6fb96353" providerId="ADAL" clId="{DDC5853D-AC23-47BD-A462-B07CB2FB084E}" dt="2024-06-06T09:59:04.165" v="1440" actId="1076"/>
          <ac:spMkLst>
            <pc:docMk/>
            <pc:sldMk cId="3865248303" sldId="1240"/>
            <ac:spMk id="14" creationId="{9DC23357-8B69-C35A-8C1F-44579ACAD3E0}"/>
          </ac:spMkLst>
        </pc:spChg>
        <pc:spChg chg="add mod">
          <ac:chgData name="Devraj, Keerthi (DI SW ICS DVT CSF DV FS)" userId="a61e6969-d85e-42d5-913e-c7fe6fb96353" providerId="ADAL" clId="{DDC5853D-AC23-47BD-A462-B07CB2FB084E}" dt="2024-06-06T09:59:04.165" v="1440" actId="1076"/>
          <ac:spMkLst>
            <pc:docMk/>
            <pc:sldMk cId="3865248303" sldId="1240"/>
            <ac:spMk id="17" creationId="{DD2729D3-209F-06C2-D7BD-A8F26F2B9195}"/>
          </ac:spMkLst>
        </pc:spChg>
        <pc:spChg chg="add mod">
          <ac:chgData name="Devraj, Keerthi (DI SW ICS DVT CSF DV FS)" userId="a61e6969-d85e-42d5-913e-c7fe6fb96353" providerId="ADAL" clId="{DDC5853D-AC23-47BD-A462-B07CB2FB084E}" dt="2024-06-06T09:59:04.165" v="1440" actId="1076"/>
          <ac:spMkLst>
            <pc:docMk/>
            <pc:sldMk cId="3865248303" sldId="1240"/>
            <ac:spMk id="18" creationId="{676CAEEA-947D-67DE-164D-54A8CFE35E01}"/>
          </ac:spMkLst>
        </pc:spChg>
        <pc:spChg chg="del">
          <ac:chgData name="Devraj, Keerthi (DI SW ICS DVT CSF DV FS)" userId="a61e6969-d85e-42d5-913e-c7fe6fb96353" providerId="ADAL" clId="{DDC5853D-AC23-47BD-A462-B07CB2FB084E}" dt="2024-06-06T09:38:10.469" v="696" actId="478"/>
          <ac:spMkLst>
            <pc:docMk/>
            <pc:sldMk cId="3865248303" sldId="1240"/>
            <ac:spMk id="25" creationId="{4CD56C0E-F1ED-B536-95E9-99561C890EF9}"/>
          </ac:spMkLst>
        </pc:spChg>
        <pc:spChg chg="add mod ord">
          <ac:chgData name="Devraj, Keerthi (DI SW ICS DVT CSF DV FS)" userId="a61e6969-d85e-42d5-913e-c7fe6fb96353" providerId="ADAL" clId="{DDC5853D-AC23-47BD-A462-B07CB2FB084E}" dt="2024-06-06T09:59:04.165" v="1440" actId="1076"/>
          <ac:spMkLst>
            <pc:docMk/>
            <pc:sldMk cId="3865248303" sldId="1240"/>
            <ac:spMk id="27" creationId="{10BEBDCD-414F-6EC2-AA51-438E1A45B0FE}"/>
          </ac:spMkLst>
        </pc:spChg>
        <pc:spChg chg="mod">
          <ac:chgData name="Devraj, Keerthi (DI SW ICS DVT CSF DV FS)" userId="a61e6969-d85e-42d5-913e-c7fe6fb96353" providerId="ADAL" clId="{DDC5853D-AC23-47BD-A462-B07CB2FB084E}" dt="2024-06-07T09:18:23.951" v="4410" actId="1076"/>
          <ac:spMkLst>
            <pc:docMk/>
            <pc:sldMk cId="3865248303" sldId="1240"/>
            <ac:spMk id="29" creationId="{FDFA0DA7-E6A5-AA06-E079-65D0C1BEA69C}"/>
          </ac:spMkLst>
        </pc:spChg>
        <pc:grpChg chg="add mod">
          <ac:chgData name="Devraj, Keerthi (DI SW ICS DVT CSF DV FS)" userId="a61e6969-d85e-42d5-913e-c7fe6fb96353" providerId="ADAL" clId="{DDC5853D-AC23-47BD-A462-B07CB2FB084E}" dt="2024-06-06T09:59:04.165" v="1440" actId="1076"/>
          <ac:grpSpMkLst>
            <pc:docMk/>
            <pc:sldMk cId="3865248303" sldId="1240"/>
            <ac:grpSpMk id="15" creationId="{E29D4704-8A61-C914-C6DB-871F87A42F9E}"/>
          </ac:grpSpMkLst>
        </pc:grpChg>
        <pc:grpChg chg="add mod">
          <ac:chgData name="Devraj, Keerthi (DI SW ICS DVT CSF DV FS)" userId="a61e6969-d85e-42d5-913e-c7fe6fb96353" providerId="ADAL" clId="{DDC5853D-AC23-47BD-A462-B07CB2FB084E}" dt="2024-06-06T09:59:04.165" v="1440" actId="1076"/>
          <ac:grpSpMkLst>
            <pc:docMk/>
            <pc:sldMk cId="3865248303" sldId="1240"/>
            <ac:grpSpMk id="16" creationId="{A2AAEA26-3030-A7F0-6235-342BB7FE598C}"/>
          </ac:grpSpMkLst>
        </pc:grpChg>
        <pc:grpChg chg="add mod">
          <ac:chgData name="Devraj, Keerthi (DI SW ICS DVT CSF DV FS)" userId="a61e6969-d85e-42d5-913e-c7fe6fb96353" providerId="ADAL" clId="{DDC5853D-AC23-47BD-A462-B07CB2FB084E}" dt="2024-06-06T09:59:04.165" v="1440" actId="1076"/>
          <ac:grpSpMkLst>
            <pc:docMk/>
            <pc:sldMk cId="3865248303" sldId="1240"/>
            <ac:grpSpMk id="28" creationId="{AE4A445E-D983-454B-92B8-8DF4EA99C6B5}"/>
          </ac:grpSpMkLst>
        </pc:grpChg>
        <pc:grpChg chg="add mod ord">
          <ac:chgData name="Devraj, Keerthi (DI SW ICS DVT CSF DV FS)" userId="a61e6969-d85e-42d5-913e-c7fe6fb96353" providerId="ADAL" clId="{DDC5853D-AC23-47BD-A462-B07CB2FB084E}" dt="2024-06-07T09:18:44.567" v="4416" actId="166"/>
          <ac:grpSpMkLst>
            <pc:docMk/>
            <pc:sldMk cId="3865248303" sldId="1240"/>
            <ac:grpSpMk id="30" creationId="{C803E759-3AFE-3652-12CF-ED98E3835393}"/>
          </ac:grpSpMkLst>
        </pc:grpChg>
        <pc:picChg chg="del mod">
          <ac:chgData name="Devraj, Keerthi (DI SW ICS DVT CSF DV FS)" userId="a61e6969-d85e-42d5-913e-c7fe6fb96353" providerId="ADAL" clId="{DDC5853D-AC23-47BD-A462-B07CB2FB084E}" dt="2024-06-07T09:18:34.330" v="4413" actId="478"/>
          <ac:picMkLst>
            <pc:docMk/>
            <pc:sldMk cId="3865248303" sldId="1240"/>
            <ac:picMk id="5" creationId="{22210724-4829-C6FA-8755-ABDC58B3B940}"/>
          </ac:picMkLst>
        </pc:picChg>
        <pc:picChg chg="add mod">
          <ac:chgData name="Devraj, Keerthi (DI SW ICS DVT CSF DV FS)" userId="a61e6969-d85e-42d5-913e-c7fe6fb96353" providerId="ADAL" clId="{DDC5853D-AC23-47BD-A462-B07CB2FB084E}" dt="2024-06-07T09:18:32.301" v="4411" actId="164"/>
          <ac:picMkLst>
            <pc:docMk/>
            <pc:sldMk cId="3865248303" sldId="1240"/>
            <ac:picMk id="7" creationId="{22210724-4829-C6FA-8755-ABDC58B3B940}"/>
          </ac:picMkLst>
        </pc:picChg>
        <pc:picChg chg="add mod">
          <ac:chgData name="Devraj, Keerthi (DI SW ICS DVT CSF DV FS)" userId="a61e6969-d85e-42d5-913e-c7fe6fb96353" providerId="ADAL" clId="{DDC5853D-AC23-47BD-A462-B07CB2FB084E}" dt="2024-06-07T09:18:37.280" v="4414"/>
          <ac:picMkLst>
            <pc:docMk/>
            <pc:sldMk cId="3865248303" sldId="1240"/>
            <ac:picMk id="31" creationId="{64F8B87D-9540-6C1B-00D9-67DD81E7635E}"/>
          </ac:picMkLst>
        </pc:picChg>
        <pc:picChg chg="add mod">
          <ac:chgData name="Devraj, Keerthi (DI SW ICS DVT CSF DV FS)" userId="a61e6969-d85e-42d5-913e-c7fe6fb96353" providerId="ADAL" clId="{DDC5853D-AC23-47BD-A462-B07CB2FB084E}" dt="2024-06-07T09:19:17.256" v="4421" actId="208"/>
          <ac:picMkLst>
            <pc:docMk/>
            <pc:sldMk cId="3865248303" sldId="1240"/>
            <ac:picMk id="4099" creationId="{A23732D0-4C38-8997-77DF-F387A1F5914C}"/>
          </ac:picMkLst>
        </pc:picChg>
        <pc:picChg chg="add mod">
          <ac:chgData name="Devraj, Keerthi (DI SW ICS DVT CSF DV FS)" userId="a61e6969-d85e-42d5-913e-c7fe6fb96353" providerId="ADAL" clId="{DDC5853D-AC23-47BD-A462-B07CB2FB084E}" dt="2024-06-07T09:19:20.724" v="4422" actId="208"/>
          <ac:picMkLst>
            <pc:docMk/>
            <pc:sldMk cId="3865248303" sldId="1240"/>
            <ac:picMk id="4101" creationId="{78DCB98A-253C-0E94-D55B-E49A868CD938}"/>
          </ac:picMkLst>
        </pc:picChg>
        <pc:picChg chg="add mod">
          <ac:chgData name="Devraj, Keerthi (DI SW ICS DVT CSF DV FS)" userId="a61e6969-d85e-42d5-913e-c7fe6fb96353" providerId="ADAL" clId="{DDC5853D-AC23-47BD-A462-B07CB2FB084E}" dt="2024-06-07T09:19:41.233" v="4423" actId="208"/>
          <ac:picMkLst>
            <pc:docMk/>
            <pc:sldMk cId="3865248303" sldId="1240"/>
            <ac:picMk id="4103" creationId="{334BC101-18B6-7DD0-E20A-4FBBA99FABFC}"/>
          </ac:picMkLst>
        </pc:picChg>
        <pc:cxnChg chg="add mod">
          <ac:chgData name="Devraj, Keerthi (DI SW ICS DVT CSF DV FS)" userId="a61e6969-d85e-42d5-913e-c7fe6fb96353" providerId="ADAL" clId="{DDC5853D-AC23-47BD-A462-B07CB2FB084E}" dt="2024-06-06T09:59:04.165" v="1440" actId="1076"/>
          <ac:cxnSpMkLst>
            <pc:docMk/>
            <pc:sldMk cId="3865248303" sldId="1240"/>
            <ac:cxnSpMk id="20" creationId="{522721DC-40B7-487B-10F8-2E09DD60C860}"/>
          </ac:cxnSpMkLst>
        </pc:cxnChg>
        <pc:cxnChg chg="add mod">
          <ac:chgData name="Devraj, Keerthi (DI SW ICS DVT CSF DV FS)" userId="a61e6969-d85e-42d5-913e-c7fe6fb96353" providerId="ADAL" clId="{DDC5853D-AC23-47BD-A462-B07CB2FB084E}" dt="2024-06-06T09:59:04.165" v="1440" actId="1076"/>
          <ac:cxnSpMkLst>
            <pc:docMk/>
            <pc:sldMk cId="3865248303" sldId="1240"/>
            <ac:cxnSpMk id="24" creationId="{8CEBD859-C83C-2427-0E59-CB48E690F1D7}"/>
          </ac:cxnSpMkLst>
        </pc:cxnChg>
        <pc:cxnChg chg="add mod">
          <ac:chgData name="Devraj, Keerthi (DI SW ICS DVT CSF DV FS)" userId="a61e6969-d85e-42d5-913e-c7fe6fb96353" providerId="ADAL" clId="{DDC5853D-AC23-47BD-A462-B07CB2FB084E}" dt="2024-06-06T09:59:04.165" v="1440" actId="1076"/>
          <ac:cxnSpMkLst>
            <pc:docMk/>
            <pc:sldMk cId="3865248303" sldId="1240"/>
            <ac:cxnSpMk id="26" creationId="{C255B009-D917-DF9E-9D5D-AF7C9862A0D6}"/>
          </ac:cxnSpMkLst>
        </pc:cxnChg>
      </pc:sldChg>
      <pc:sldChg chg="addSp delSp modSp add mod modNotesTx">
        <pc:chgData name="Devraj, Keerthi (DI SW ICS DVT CSF DV FS)" userId="a61e6969-d85e-42d5-913e-c7fe6fb96353" providerId="ADAL" clId="{DDC5853D-AC23-47BD-A462-B07CB2FB084E}" dt="2024-06-07T20:43:17.347" v="6220" actId="6549"/>
        <pc:sldMkLst>
          <pc:docMk/>
          <pc:sldMk cId="767579717" sldId="1241"/>
        </pc:sldMkLst>
        <pc:spChg chg="mod">
          <ac:chgData name="Devraj, Keerthi (DI SW ICS DVT CSF DV FS)" userId="a61e6969-d85e-42d5-913e-c7fe6fb96353" providerId="ADAL" clId="{DDC5853D-AC23-47BD-A462-B07CB2FB084E}" dt="2024-06-06T10:21:58.251" v="1879" actId="21"/>
          <ac:spMkLst>
            <pc:docMk/>
            <pc:sldMk cId="767579717" sldId="1241"/>
            <ac:spMk id="2" creationId="{30A59CE0-18CE-9447-F486-84039784745F}"/>
          </ac:spMkLst>
        </pc:spChg>
        <pc:spChg chg="del mod topLvl">
          <ac:chgData name="Devraj, Keerthi (DI SW ICS DVT CSF DV FS)" userId="a61e6969-d85e-42d5-913e-c7fe6fb96353" providerId="ADAL" clId="{DDC5853D-AC23-47BD-A462-B07CB2FB084E}" dt="2024-06-06T09:35:15.358" v="608" actId="478"/>
          <ac:spMkLst>
            <pc:docMk/>
            <pc:sldMk cId="767579717" sldId="1241"/>
            <ac:spMk id="6" creationId="{39FE65F8-B002-6062-9BC9-BFA6C6AA0543}"/>
          </ac:spMkLst>
        </pc:spChg>
        <pc:spChg chg="add del mod">
          <ac:chgData name="Devraj, Keerthi (DI SW ICS DVT CSF DV FS)" userId="a61e6969-d85e-42d5-913e-c7fe6fb96353" providerId="ADAL" clId="{DDC5853D-AC23-47BD-A462-B07CB2FB084E}" dt="2024-06-06T10:13:24.938" v="1628" actId="478"/>
          <ac:spMkLst>
            <pc:docMk/>
            <pc:sldMk cId="767579717" sldId="1241"/>
            <ac:spMk id="7" creationId="{ED750394-80C0-8125-9319-47BEFF1B59EA}"/>
          </ac:spMkLst>
        </pc:spChg>
        <pc:spChg chg="add mod">
          <ac:chgData name="Devraj, Keerthi (DI SW ICS DVT CSF DV FS)" userId="a61e6969-d85e-42d5-913e-c7fe6fb96353" providerId="ADAL" clId="{DDC5853D-AC23-47BD-A462-B07CB2FB084E}" dt="2024-06-06T10:19:53.528" v="1836" actId="1035"/>
          <ac:spMkLst>
            <pc:docMk/>
            <pc:sldMk cId="767579717" sldId="1241"/>
            <ac:spMk id="9" creationId="{35E418DA-ECE1-0C0D-9341-56F1B217AFD4}"/>
          </ac:spMkLst>
        </pc:spChg>
        <pc:spChg chg="add mod">
          <ac:chgData name="Devraj, Keerthi (DI SW ICS DVT CSF DV FS)" userId="a61e6969-d85e-42d5-913e-c7fe6fb96353" providerId="ADAL" clId="{DDC5853D-AC23-47BD-A462-B07CB2FB084E}" dt="2024-06-06T10:19:53.528" v="1836" actId="1035"/>
          <ac:spMkLst>
            <pc:docMk/>
            <pc:sldMk cId="767579717" sldId="1241"/>
            <ac:spMk id="10" creationId="{89A48560-3AFB-132B-2706-A660511A1FB0}"/>
          </ac:spMkLst>
        </pc:spChg>
        <pc:spChg chg="add mod">
          <ac:chgData name="Devraj, Keerthi (DI SW ICS DVT CSF DV FS)" userId="a61e6969-d85e-42d5-913e-c7fe6fb96353" providerId="ADAL" clId="{DDC5853D-AC23-47BD-A462-B07CB2FB084E}" dt="2024-06-06T10:19:53.528" v="1836" actId="1035"/>
          <ac:spMkLst>
            <pc:docMk/>
            <pc:sldMk cId="767579717" sldId="1241"/>
            <ac:spMk id="11" creationId="{97BD29F1-EB58-CA4C-8124-198B280AEAA4}"/>
          </ac:spMkLst>
        </pc:spChg>
        <pc:spChg chg="add mod">
          <ac:chgData name="Devraj, Keerthi (DI SW ICS DVT CSF DV FS)" userId="a61e6969-d85e-42d5-913e-c7fe6fb96353" providerId="ADAL" clId="{DDC5853D-AC23-47BD-A462-B07CB2FB084E}" dt="2024-06-06T10:19:53.528" v="1836" actId="1035"/>
          <ac:spMkLst>
            <pc:docMk/>
            <pc:sldMk cId="767579717" sldId="1241"/>
            <ac:spMk id="12" creationId="{BC2C7C65-4066-53E5-69DD-8C9B815D6F43}"/>
          </ac:spMkLst>
        </pc:spChg>
        <pc:spChg chg="del">
          <ac:chgData name="Devraj, Keerthi (DI SW ICS DVT CSF DV FS)" userId="a61e6969-d85e-42d5-913e-c7fe6fb96353" providerId="ADAL" clId="{DDC5853D-AC23-47BD-A462-B07CB2FB084E}" dt="2024-06-06T10:13:04.472" v="1623" actId="478"/>
          <ac:spMkLst>
            <pc:docMk/>
            <pc:sldMk cId="767579717" sldId="1241"/>
            <ac:spMk id="25" creationId="{4CD56C0E-F1ED-B536-95E9-99561C890EF9}"/>
          </ac:spMkLst>
        </pc:spChg>
        <pc:spChg chg="del">
          <ac:chgData name="Devraj, Keerthi (DI SW ICS DVT CSF DV FS)" userId="a61e6969-d85e-42d5-913e-c7fe6fb96353" providerId="ADAL" clId="{DDC5853D-AC23-47BD-A462-B07CB2FB084E}" dt="2024-06-06T10:06:24.150" v="1619" actId="478"/>
          <ac:spMkLst>
            <pc:docMk/>
            <pc:sldMk cId="767579717" sldId="1241"/>
            <ac:spMk id="29" creationId="{FDFA0DA7-E6A5-AA06-E079-65D0C1BEA69C}"/>
          </ac:spMkLst>
        </pc:spChg>
        <pc:spChg chg="mod">
          <ac:chgData name="Devraj, Keerthi (DI SW ICS DVT CSF DV FS)" userId="a61e6969-d85e-42d5-913e-c7fe6fb96353" providerId="ADAL" clId="{DDC5853D-AC23-47BD-A462-B07CB2FB084E}" dt="2024-06-06T10:13:05.887" v="1624"/>
          <ac:spMkLst>
            <pc:docMk/>
            <pc:sldMk cId="767579717" sldId="1241"/>
            <ac:spMk id="30" creationId="{08110EA0-BE74-CD04-B6F3-FB1BEA7DDBA7}"/>
          </ac:spMkLst>
        </pc:spChg>
        <pc:spChg chg="mod">
          <ac:chgData name="Devraj, Keerthi (DI SW ICS DVT CSF DV FS)" userId="a61e6969-d85e-42d5-913e-c7fe6fb96353" providerId="ADAL" clId="{DDC5853D-AC23-47BD-A462-B07CB2FB084E}" dt="2024-06-06T10:13:05.887" v="1624"/>
          <ac:spMkLst>
            <pc:docMk/>
            <pc:sldMk cId="767579717" sldId="1241"/>
            <ac:spMk id="32" creationId="{2AD4203C-0BCC-2BCA-9C61-D78AF124B4AA}"/>
          </ac:spMkLst>
        </pc:spChg>
        <pc:spChg chg="mod">
          <ac:chgData name="Devraj, Keerthi (DI SW ICS DVT CSF DV FS)" userId="a61e6969-d85e-42d5-913e-c7fe6fb96353" providerId="ADAL" clId="{DDC5853D-AC23-47BD-A462-B07CB2FB084E}" dt="2024-06-06T10:13:05.887" v="1624"/>
          <ac:spMkLst>
            <pc:docMk/>
            <pc:sldMk cId="767579717" sldId="1241"/>
            <ac:spMk id="33" creationId="{312F448F-655F-77BF-3E80-25EF5B7A7C9B}"/>
          </ac:spMkLst>
        </pc:spChg>
        <pc:spChg chg="mod">
          <ac:chgData name="Devraj, Keerthi (DI SW ICS DVT CSF DV FS)" userId="a61e6969-d85e-42d5-913e-c7fe6fb96353" providerId="ADAL" clId="{DDC5853D-AC23-47BD-A462-B07CB2FB084E}" dt="2024-06-06T10:13:05.887" v="1624"/>
          <ac:spMkLst>
            <pc:docMk/>
            <pc:sldMk cId="767579717" sldId="1241"/>
            <ac:spMk id="34" creationId="{48AC5F7E-5C84-F906-7D80-51572ABA5057}"/>
          </ac:spMkLst>
        </pc:spChg>
        <pc:spChg chg="mod">
          <ac:chgData name="Devraj, Keerthi (DI SW ICS DVT CSF DV FS)" userId="a61e6969-d85e-42d5-913e-c7fe6fb96353" providerId="ADAL" clId="{DDC5853D-AC23-47BD-A462-B07CB2FB084E}" dt="2024-06-06T10:13:05.887" v="1624"/>
          <ac:spMkLst>
            <pc:docMk/>
            <pc:sldMk cId="767579717" sldId="1241"/>
            <ac:spMk id="42" creationId="{E7AF4425-EB9D-B8CE-033A-4B5BBEDDEC4D}"/>
          </ac:spMkLst>
        </pc:spChg>
        <pc:spChg chg="mod">
          <ac:chgData name="Devraj, Keerthi (DI SW ICS DVT CSF DV FS)" userId="a61e6969-d85e-42d5-913e-c7fe6fb96353" providerId="ADAL" clId="{DDC5853D-AC23-47BD-A462-B07CB2FB084E}" dt="2024-06-06T10:13:05.887" v="1624"/>
          <ac:spMkLst>
            <pc:docMk/>
            <pc:sldMk cId="767579717" sldId="1241"/>
            <ac:spMk id="43" creationId="{F1E9C1F9-3FE6-F277-42BC-8AB24A42F4E9}"/>
          </ac:spMkLst>
        </pc:spChg>
        <pc:spChg chg="mod">
          <ac:chgData name="Devraj, Keerthi (DI SW ICS DVT CSF DV FS)" userId="a61e6969-d85e-42d5-913e-c7fe6fb96353" providerId="ADAL" clId="{DDC5853D-AC23-47BD-A462-B07CB2FB084E}" dt="2024-06-06T10:13:05.887" v="1624"/>
          <ac:spMkLst>
            <pc:docMk/>
            <pc:sldMk cId="767579717" sldId="1241"/>
            <ac:spMk id="45" creationId="{0EF2E3BC-517D-B405-2DFC-6F1103B0C61A}"/>
          </ac:spMkLst>
        </pc:spChg>
        <pc:spChg chg="mod">
          <ac:chgData name="Devraj, Keerthi (DI SW ICS DVT CSF DV FS)" userId="a61e6969-d85e-42d5-913e-c7fe6fb96353" providerId="ADAL" clId="{DDC5853D-AC23-47BD-A462-B07CB2FB084E}" dt="2024-06-06T10:13:05.887" v="1624"/>
          <ac:spMkLst>
            <pc:docMk/>
            <pc:sldMk cId="767579717" sldId="1241"/>
            <ac:spMk id="47" creationId="{E856D14F-E00F-ADCE-2ED0-E8C2FF4C559E}"/>
          </ac:spMkLst>
        </pc:spChg>
        <pc:spChg chg="mod">
          <ac:chgData name="Devraj, Keerthi (DI SW ICS DVT CSF DV FS)" userId="a61e6969-d85e-42d5-913e-c7fe6fb96353" providerId="ADAL" clId="{DDC5853D-AC23-47BD-A462-B07CB2FB084E}" dt="2024-06-06T10:13:05.887" v="1624"/>
          <ac:spMkLst>
            <pc:docMk/>
            <pc:sldMk cId="767579717" sldId="1241"/>
            <ac:spMk id="48" creationId="{CC0165A0-8079-81BD-ADBF-DDBF49007DE8}"/>
          </ac:spMkLst>
        </pc:spChg>
        <pc:spChg chg="mod">
          <ac:chgData name="Devraj, Keerthi (DI SW ICS DVT CSF DV FS)" userId="a61e6969-d85e-42d5-913e-c7fe6fb96353" providerId="ADAL" clId="{DDC5853D-AC23-47BD-A462-B07CB2FB084E}" dt="2024-06-06T10:13:05.887" v="1624"/>
          <ac:spMkLst>
            <pc:docMk/>
            <pc:sldMk cId="767579717" sldId="1241"/>
            <ac:spMk id="49" creationId="{A1907F30-F843-79F0-074B-61020163B5C8}"/>
          </ac:spMkLst>
        </pc:spChg>
        <pc:spChg chg="mod">
          <ac:chgData name="Devraj, Keerthi (DI SW ICS DVT CSF DV FS)" userId="a61e6969-d85e-42d5-913e-c7fe6fb96353" providerId="ADAL" clId="{DDC5853D-AC23-47BD-A462-B07CB2FB084E}" dt="2024-06-06T10:13:05.887" v="1624"/>
          <ac:spMkLst>
            <pc:docMk/>
            <pc:sldMk cId="767579717" sldId="1241"/>
            <ac:spMk id="57" creationId="{F52FACD6-0C4A-8BB7-EB23-20F22B4780F1}"/>
          </ac:spMkLst>
        </pc:spChg>
        <pc:spChg chg="mod">
          <ac:chgData name="Devraj, Keerthi (DI SW ICS DVT CSF DV FS)" userId="a61e6969-d85e-42d5-913e-c7fe6fb96353" providerId="ADAL" clId="{DDC5853D-AC23-47BD-A462-B07CB2FB084E}" dt="2024-06-06T10:13:05.887" v="1624"/>
          <ac:spMkLst>
            <pc:docMk/>
            <pc:sldMk cId="767579717" sldId="1241"/>
            <ac:spMk id="58" creationId="{FEFC6048-3448-65D4-46C3-DC684C5BAB21}"/>
          </ac:spMkLst>
        </pc:spChg>
        <pc:spChg chg="add mod">
          <ac:chgData name="Devraj, Keerthi (DI SW ICS DVT CSF DV FS)" userId="a61e6969-d85e-42d5-913e-c7fe6fb96353" providerId="ADAL" clId="{DDC5853D-AC23-47BD-A462-B07CB2FB084E}" dt="2024-06-06T10:19:53.528" v="1836" actId="1035"/>
          <ac:spMkLst>
            <pc:docMk/>
            <pc:sldMk cId="767579717" sldId="1241"/>
            <ac:spMk id="59" creationId="{501B96B7-3A22-5D4C-D053-3B6761758050}"/>
          </ac:spMkLst>
        </pc:spChg>
        <pc:spChg chg="mod">
          <ac:chgData name="Devraj, Keerthi (DI SW ICS DVT CSF DV FS)" userId="a61e6969-d85e-42d5-913e-c7fe6fb96353" providerId="ADAL" clId="{DDC5853D-AC23-47BD-A462-B07CB2FB084E}" dt="2024-06-06T10:13:05.887" v="1624"/>
          <ac:spMkLst>
            <pc:docMk/>
            <pc:sldMk cId="767579717" sldId="1241"/>
            <ac:spMk id="61" creationId="{D61A0663-437C-6687-15FE-562AA9D8599F}"/>
          </ac:spMkLst>
        </pc:spChg>
        <pc:spChg chg="mod">
          <ac:chgData name="Devraj, Keerthi (DI SW ICS DVT CSF DV FS)" userId="a61e6969-d85e-42d5-913e-c7fe6fb96353" providerId="ADAL" clId="{DDC5853D-AC23-47BD-A462-B07CB2FB084E}" dt="2024-06-06T10:13:05.887" v="1624"/>
          <ac:spMkLst>
            <pc:docMk/>
            <pc:sldMk cId="767579717" sldId="1241"/>
            <ac:spMk id="63" creationId="{B31E1EE6-2FB3-6084-5223-5F7D709085AC}"/>
          </ac:spMkLst>
        </pc:spChg>
        <pc:spChg chg="mod">
          <ac:chgData name="Devraj, Keerthi (DI SW ICS DVT CSF DV FS)" userId="a61e6969-d85e-42d5-913e-c7fe6fb96353" providerId="ADAL" clId="{DDC5853D-AC23-47BD-A462-B07CB2FB084E}" dt="2024-06-06T10:13:05.887" v="1624"/>
          <ac:spMkLst>
            <pc:docMk/>
            <pc:sldMk cId="767579717" sldId="1241"/>
            <ac:spMk id="64" creationId="{8F62D511-EE69-AC3F-FE6B-CCC0D355DBB7}"/>
          </ac:spMkLst>
        </pc:spChg>
        <pc:spChg chg="mod">
          <ac:chgData name="Devraj, Keerthi (DI SW ICS DVT CSF DV FS)" userId="a61e6969-d85e-42d5-913e-c7fe6fb96353" providerId="ADAL" clId="{DDC5853D-AC23-47BD-A462-B07CB2FB084E}" dt="2024-06-06T10:13:05.887" v="1624"/>
          <ac:spMkLst>
            <pc:docMk/>
            <pc:sldMk cId="767579717" sldId="1241"/>
            <ac:spMk id="65" creationId="{B31E62C4-BB81-7D9B-701E-5217E420C3B2}"/>
          </ac:spMkLst>
        </pc:spChg>
        <pc:spChg chg="mod">
          <ac:chgData name="Devraj, Keerthi (DI SW ICS DVT CSF DV FS)" userId="a61e6969-d85e-42d5-913e-c7fe6fb96353" providerId="ADAL" clId="{DDC5853D-AC23-47BD-A462-B07CB2FB084E}" dt="2024-06-06T10:13:05.887" v="1624"/>
          <ac:spMkLst>
            <pc:docMk/>
            <pc:sldMk cId="767579717" sldId="1241"/>
            <ac:spMk id="73" creationId="{3EF8F199-2260-4E8C-A8A1-40B8C3195492}"/>
          </ac:spMkLst>
        </pc:spChg>
        <pc:spChg chg="mod">
          <ac:chgData name="Devraj, Keerthi (DI SW ICS DVT CSF DV FS)" userId="a61e6969-d85e-42d5-913e-c7fe6fb96353" providerId="ADAL" clId="{DDC5853D-AC23-47BD-A462-B07CB2FB084E}" dt="2024-06-06T10:13:05.887" v="1624"/>
          <ac:spMkLst>
            <pc:docMk/>
            <pc:sldMk cId="767579717" sldId="1241"/>
            <ac:spMk id="74" creationId="{610EBA44-F7F3-4319-A0D6-BD914E68DF63}"/>
          </ac:spMkLst>
        </pc:spChg>
        <pc:spChg chg="add mod">
          <ac:chgData name="Devraj, Keerthi (DI SW ICS DVT CSF DV FS)" userId="a61e6969-d85e-42d5-913e-c7fe6fb96353" providerId="ADAL" clId="{DDC5853D-AC23-47BD-A462-B07CB2FB084E}" dt="2024-06-06T10:19:53.528" v="1836" actId="1035"/>
          <ac:spMkLst>
            <pc:docMk/>
            <pc:sldMk cId="767579717" sldId="1241"/>
            <ac:spMk id="76" creationId="{7C3AC2D8-A691-24CB-68C1-B15B8E5CBD30}"/>
          </ac:spMkLst>
        </pc:spChg>
        <pc:spChg chg="add mod">
          <ac:chgData name="Devraj, Keerthi (DI SW ICS DVT CSF DV FS)" userId="a61e6969-d85e-42d5-913e-c7fe6fb96353" providerId="ADAL" clId="{DDC5853D-AC23-47BD-A462-B07CB2FB084E}" dt="2024-06-06T10:19:53.528" v="1836" actId="1035"/>
          <ac:spMkLst>
            <pc:docMk/>
            <pc:sldMk cId="767579717" sldId="1241"/>
            <ac:spMk id="77" creationId="{0A0B37E8-EF98-1FDC-0538-21F7B523B283}"/>
          </ac:spMkLst>
        </pc:spChg>
        <pc:spChg chg="add mod">
          <ac:chgData name="Devraj, Keerthi (DI SW ICS DVT CSF DV FS)" userId="a61e6969-d85e-42d5-913e-c7fe6fb96353" providerId="ADAL" clId="{DDC5853D-AC23-47BD-A462-B07CB2FB084E}" dt="2024-06-06T10:19:53.528" v="1836" actId="1035"/>
          <ac:spMkLst>
            <pc:docMk/>
            <pc:sldMk cId="767579717" sldId="1241"/>
            <ac:spMk id="81" creationId="{0ABF28FA-0B7B-E607-07A0-86E0CE2B48D3}"/>
          </ac:spMkLst>
        </pc:spChg>
        <pc:spChg chg="add mod">
          <ac:chgData name="Devraj, Keerthi (DI SW ICS DVT CSF DV FS)" userId="a61e6969-d85e-42d5-913e-c7fe6fb96353" providerId="ADAL" clId="{DDC5853D-AC23-47BD-A462-B07CB2FB084E}" dt="2024-06-06T10:19:53.528" v="1836" actId="1035"/>
          <ac:spMkLst>
            <pc:docMk/>
            <pc:sldMk cId="767579717" sldId="1241"/>
            <ac:spMk id="82" creationId="{567BC4BA-5EB6-8FA9-2154-AF00EF57B7C7}"/>
          </ac:spMkLst>
        </pc:spChg>
        <pc:spChg chg="mod">
          <ac:chgData name="Devraj, Keerthi (DI SW ICS DVT CSF DV FS)" userId="a61e6969-d85e-42d5-913e-c7fe6fb96353" providerId="ADAL" clId="{DDC5853D-AC23-47BD-A462-B07CB2FB084E}" dt="2024-06-06T10:13:05.887" v="1624"/>
          <ac:spMkLst>
            <pc:docMk/>
            <pc:sldMk cId="767579717" sldId="1241"/>
            <ac:spMk id="84" creationId="{50568E85-78D1-19CF-EAAE-2989787F49DE}"/>
          </ac:spMkLst>
        </pc:spChg>
        <pc:spChg chg="mod">
          <ac:chgData name="Devraj, Keerthi (DI SW ICS DVT CSF DV FS)" userId="a61e6969-d85e-42d5-913e-c7fe6fb96353" providerId="ADAL" clId="{DDC5853D-AC23-47BD-A462-B07CB2FB084E}" dt="2024-06-06T10:13:05.887" v="1624"/>
          <ac:spMkLst>
            <pc:docMk/>
            <pc:sldMk cId="767579717" sldId="1241"/>
            <ac:spMk id="86" creationId="{192146C8-EDDE-30F8-828A-F71BA9FCC78F}"/>
          </ac:spMkLst>
        </pc:spChg>
        <pc:spChg chg="mod">
          <ac:chgData name="Devraj, Keerthi (DI SW ICS DVT CSF DV FS)" userId="a61e6969-d85e-42d5-913e-c7fe6fb96353" providerId="ADAL" clId="{DDC5853D-AC23-47BD-A462-B07CB2FB084E}" dt="2024-06-06T10:13:05.887" v="1624"/>
          <ac:spMkLst>
            <pc:docMk/>
            <pc:sldMk cId="767579717" sldId="1241"/>
            <ac:spMk id="87" creationId="{FBEF94FC-1810-BD05-0F13-79F873D8AFDF}"/>
          </ac:spMkLst>
        </pc:spChg>
        <pc:spChg chg="mod">
          <ac:chgData name="Devraj, Keerthi (DI SW ICS DVT CSF DV FS)" userId="a61e6969-d85e-42d5-913e-c7fe6fb96353" providerId="ADAL" clId="{DDC5853D-AC23-47BD-A462-B07CB2FB084E}" dt="2024-06-06T10:13:05.887" v="1624"/>
          <ac:spMkLst>
            <pc:docMk/>
            <pc:sldMk cId="767579717" sldId="1241"/>
            <ac:spMk id="88" creationId="{E7682F68-784E-B534-C969-EDDA43BA273E}"/>
          </ac:spMkLst>
        </pc:spChg>
        <pc:spChg chg="mod">
          <ac:chgData name="Devraj, Keerthi (DI SW ICS DVT CSF DV FS)" userId="a61e6969-d85e-42d5-913e-c7fe6fb96353" providerId="ADAL" clId="{DDC5853D-AC23-47BD-A462-B07CB2FB084E}" dt="2024-06-06T10:13:05.887" v="1624"/>
          <ac:spMkLst>
            <pc:docMk/>
            <pc:sldMk cId="767579717" sldId="1241"/>
            <ac:spMk id="96" creationId="{CCE2491F-1FE6-3295-57E8-335E489E99C2}"/>
          </ac:spMkLst>
        </pc:spChg>
        <pc:spChg chg="mod">
          <ac:chgData name="Devraj, Keerthi (DI SW ICS DVT CSF DV FS)" userId="a61e6969-d85e-42d5-913e-c7fe6fb96353" providerId="ADAL" clId="{DDC5853D-AC23-47BD-A462-B07CB2FB084E}" dt="2024-06-06T10:13:05.887" v="1624"/>
          <ac:spMkLst>
            <pc:docMk/>
            <pc:sldMk cId="767579717" sldId="1241"/>
            <ac:spMk id="97" creationId="{9ADA88B6-8DB1-B2AD-5A4B-7BE0C0D4BCF4}"/>
          </ac:spMkLst>
        </pc:spChg>
        <pc:spChg chg="add mod">
          <ac:chgData name="Devraj, Keerthi (DI SW ICS DVT CSF DV FS)" userId="a61e6969-d85e-42d5-913e-c7fe6fb96353" providerId="ADAL" clId="{DDC5853D-AC23-47BD-A462-B07CB2FB084E}" dt="2024-06-06T10:19:53.528" v="1836" actId="1035"/>
          <ac:spMkLst>
            <pc:docMk/>
            <pc:sldMk cId="767579717" sldId="1241"/>
            <ac:spMk id="98" creationId="{F59313A9-8E73-CFDF-553E-7AD1BF7D2991}"/>
          </ac:spMkLst>
        </pc:spChg>
        <pc:spChg chg="mod">
          <ac:chgData name="Devraj, Keerthi (DI SW ICS DVT CSF DV FS)" userId="a61e6969-d85e-42d5-913e-c7fe6fb96353" providerId="ADAL" clId="{DDC5853D-AC23-47BD-A462-B07CB2FB084E}" dt="2024-06-06T10:13:05.887" v="1624"/>
          <ac:spMkLst>
            <pc:docMk/>
            <pc:sldMk cId="767579717" sldId="1241"/>
            <ac:spMk id="100" creationId="{B18AC9AC-981A-78B2-0C99-361B63D290C6}"/>
          </ac:spMkLst>
        </pc:spChg>
        <pc:spChg chg="mod">
          <ac:chgData name="Devraj, Keerthi (DI SW ICS DVT CSF DV FS)" userId="a61e6969-d85e-42d5-913e-c7fe6fb96353" providerId="ADAL" clId="{DDC5853D-AC23-47BD-A462-B07CB2FB084E}" dt="2024-06-06T10:13:05.887" v="1624"/>
          <ac:spMkLst>
            <pc:docMk/>
            <pc:sldMk cId="767579717" sldId="1241"/>
            <ac:spMk id="102" creationId="{091E41EF-5C8D-391D-C57E-56CAB492FD40}"/>
          </ac:spMkLst>
        </pc:spChg>
        <pc:spChg chg="mod">
          <ac:chgData name="Devraj, Keerthi (DI SW ICS DVT CSF DV FS)" userId="a61e6969-d85e-42d5-913e-c7fe6fb96353" providerId="ADAL" clId="{DDC5853D-AC23-47BD-A462-B07CB2FB084E}" dt="2024-06-06T10:13:05.887" v="1624"/>
          <ac:spMkLst>
            <pc:docMk/>
            <pc:sldMk cId="767579717" sldId="1241"/>
            <ac:spMk id="103" creationId="{06D3E774-39C8-9683-1FD0-3B7CAB44D8C9}"/>
          </ac:spMkLst>
        </pc:spChg>
        <pc:spChg chg="mod">
          <ac:chgData name="Devraj, Keerthi (DI SW ICS DVT CSF DV FS)" userId="a61e6969-d85e-42d5-913e-c7fe6fb96353" providerId="ADAL" clId="{DDC5853D-AC23-47BD-A462-B07CB2FB084E}" dt="2024-06-06T10:13:05.887" v="1624"/>
          <ac:spMkLst>
            <pc:docMk/>
            <pc:sldMk cId="767579717" sldId="1241"/>
            <ac:spMk id="104" creationId="{C43EBEEF-B5A4-A882-DC99-5FF23B999871}"/>
          </ac:spMkLst>
        </pc:spChg>
        <pc:spChg chg="mod">
          <ac:chgData name="Devraj, Keerthi (DI SW ICS DVT CSF DV FS)" userId="a61e6969-d85e-42d5-913e-c7fe6fb96353" providerId="ADAL" clId="{DDC5853D-AC23-47BD-A462-B07CB2FB084E}" dt="2024-06-06T10:13:05.887" v="1624"/>
          <ac:spMkLst>
            <pc:docMk/>
            <pc:sldMk cId="767579717" sldId="1241"/>
            <ac:spMk id="112" creationId="{E98E2EBA-38B6-4E30-6ED3-0B7C85F8B30D}"/>
          </ac:spMkLst>
        </pc:spChg>
        <pc:spChg chg="mod">
          <ac:chgData name="Devraj, Keerthi (DI SW ICS DVT CSF DV FS)" userId="a61e6969-d85e-42d5-913e-c7fe6fb96353" providerId="ADAL" clId="{DDC5853D-AC23-47BD-A462-B07CB2FB084E}" dt="2024-06-06T10:13:05.887" v="1624"/>
          <ac:spMkLst>
            <pc:docMk/>
            <pc:sldMk cId="767579717" sldId="1241"/>
            <ac:spMk id="113" creationId="{7C7CB4ED-5FDA-A2E4-FE12-7B27C31D8589}"/>
          </ac:spMkLst>
        </pc:spChg>
        <pc:spChg chg="add mod">
          <ac:chgData name="Devraj, Keerthi (DI SW ICS DVT CSF DV FS)" userId="a61e6969-d85e-42d5-913e-c7fe6fb96353" providerId="ADAL" clId="{DDC5853D-AC23-47BD-A462-B07CB2FB084E}" dt="2024-06-06T10:19:53.528" v="1836" actId="1035"/>
          <ac:spMkLst>
            <pc:docMk/>
            <pc:sldMk cId="767579717" sldId="1241"/>
            <ac:spMk id="115" creationId="{E37159EE-A33F-3B8F-61B2-DBC0A80E5D02}"/>
          </ac:spMkLst>
        </pc:spChg>
        <pc:spChg chg="add mod">
          <ac:chgData name="Devraj, Keerthi (DI SW ICS DVT CSF DV FS)" userId="a61e6969-d85e-42d5-913e-c7fe6fb96353" providerId="ADAL" clId="{DDC5853D-AC23-47BD-A462-B07CB2FB084E}" dt="2024-06-06T10:19:53.528" v="1836" actId="1035"/>
          <ac:spMkLst>
            <pc:docMk/>
            <pc:sldMk cId="767579717" sldId="1241"/>
            <ac:spMk id="116" creationId="{A417E2F4-3CCA-E303-C970-D06938E62996}"/>
          </ac:spMkLst>
        </pc:spChg>
        <pc:spChg chg="add mod">
          <ac:chgData name="Devraj, Keerthi (DI SW ICS DVT CSF DV FS)" userId="a61e6969-d85e-42d5-913e-c7fe6fb96353" providerId="ADAL" clId="{DDC5853D-AC23-47BD-A462-B07CB2FB084E}" dt="2024-06-06T10:19:53.528" v="1836" actId="1035"/>
          <ac:spMkLst>
            <pc:docMk/>
            <pc:sldMk cId="767579717" sldId="1241"/>
            <ac:spMk id="117" creationId="{04E8E21D-4B03-3602-90A2-4B6CF432535C}"/>
          </ac:spMkLst>
        </pc:spChg>
        <pc:spChg chg="add mod">
          <ac:chgData name="Devraj, Keerthi (DI SW ICS DVT CSF DV FS)" userId="a61e6969-d85e-42d5-913e-c7fe6fb96353" providerId="ADAL" clId="{DDC5853D-AC23-47BD-A462-B07CB2FB084E}" dt="2024-06-06T10:19:53.528" v="1836" actId="1035"/>
          <ac:spMkLst>
            <pc:docMk/>
            <pc:sldMk cId="767579717" sldId="1241"/>
            <ac:spMk id="118" creationId="{92AA815B-946E-FE0E-DD50-64060CABFE7D}"/>
          </ac:spMkLst>
        </pc:spChg>
        <pc:spChg chg="add mod">
          <ac:chgData name="Devraj, Keerthi (DI SW ICS DVT CSF DV FS)" userId="a61e6969-d85e-42d5-913e-c7fe6fb96353" providerId="ADAL" clId="{DDC5853D-AC23-47BD-A462-B07CB2FB084E}" dt="2024-06-06T10:13:16.613" v="1626"/>
          <ac:spMkLst>
            <pc:docMk/>
            <pc:sldMk cId="767579717" sldId="1241"/>
            <ac:spMk id="123" creationId="{838FF89E-C8C3-04E6-03D6-2689B3F48F12}"/>
          </ac:spMkLst>
        </pc:spChg>
        <pc:spChg chg="add mod ord">
          <ac:chgData name="Devraj, Keerthi (DI SW ICS DVT CSF DV FS)" userId="a61e6969-d85e-42d5-913e-c7fe6fb96353" providerId="ADAL" clId="{DDC5853D-AC23-47BD-A462-B07CB2FB084E}" dt="2024-06-07T09:37:21.662" v="5700" actId="164"/>
          <ac:spMkLst>
            <pc:docMk/>
            <pc:sldMk cId="767579717" sldId="1241"/>
            <ac:spMk id="125" creationId="{E70E7D7A-57F3-01A5-92D0-064BF87FF4F3}"/>
          </ac:spMkLst>
        </pc:spChg>
        <pc:spChg chg="add mod">
          <ac:chgData name="Devraj, Keerthi (DI SW ICS DVT CSF DV FS)" userId="a61e6969-d85e-42d5-913e-c7fe6fb96353" providerId="ADAL" clId="{DDC5853D-AC23-47BD-A462-B07CB2FB084E}" dt="2024-06-07T09:48:43.819" v="5742" actId="20577"/>
          <ac:spMkLst>
            <pc:docMk/>
            <pc:sldMk cId="767579717" sldId="1241"/>
            <ac:spMk id="126" creationId="{8F7E5BAF-399F-7577-5BD0-5ADBA7D66E1D}"/>
          </ac:spMkLst>
        </pc:spChg>
        <pc:grpChg chg="add del mod">
          <ac:chgData name="Devraj, Keerthi (DI SW ICS DVT CSF DV FS)" userId="a61e6969-d85e-42d5-913e-c7fe6fb96353" providerId="ADAL" clId="{DDC5853D-AC23-47BD-A462-B07CB2FB084E}" dt="2024-06-06T09:35:15.358" v="608" actId="478"/>
          <ac:grpSpMkLst>
            <pc:docMk/>
            <pc:sldMk cId="767579717" sldId="1241"/>
            <ac:grpSpMk id="4" creationId="{50B13ADD-CC5F-C16A-39EA-CC75C982A6A0}"/>
          </ac:grpSpMkLst>
        </pc:grpChg>
        <pc:grpChg chg="add mod">
          <ac:chgData name="Devraj, Keerthi (DI SW ICS DVT CSF DV FS)" userId="a61e6969-d85e-42d5-913e-c7fe6fb96353" providerId="ADAL" clId="{DDC5853D-AC23-47BD-A462-B07CB2FB084E}" dt="2024-06-06T10:19:53.528" v="1836" actId="1035"/>
          <ac:grpSpMkLst>
            <pc:docMk/>
            <pc:sldMk cId="767579717" sldId="1241"/>
            <ac:grpSpMk id="13" creationId="{D89C1114-62FA-8C32-FAD7-DA3451BC5940}"/>
          </ac:grpSpMkLst>
        </pc:grpChg>
        <pc:grpChg chg="add mod">
          <ac:chgData name="Devraj, Keerthi (DI SW ICS DVT CSF DV FS)" userId="a61e6969-d85e-42d5-913e-c7fe6fb96353" providerId="ADAL" clId="{DDC5853D-AC23-47BD-A462-B07CB2FB084E}" dt="2024-06-06T10:19:53.528" v="1836" actId="1035"/>
          <ac:grpSpMkLst>
            <pc:docMk/>
            <pc:sldMk cId="767579717" sldId="1241"/>
            <ac:grpSpMk id="20" creationId="{3ACB9CE1-5B41-43C2-F2EB-AF3055CFE6DC}"/>
          </ac:grpSpMkLst>
        </pc:grpChg>
        <pc:grpChg chg="add mod">
          <ac:chgData name="Devraj, Keerthi (DI SW ICS DVT CSF DV FS)" userId="a61e6969-d85e-42d5-913e-c7fe6fb96353" providerId="ADAL" clId="{DDC5853D-AC23-47BD-A462-B07CB2FB084E}" dt="2024-06-06T10:19:53.528" v="1836" actId="1035"/>
          <ac:grpSpMkLst>
            <pc:docMk/>
            <pc:sldMk cId="767579717" sldId="1241"/>
            <ac:grpSpMk id="28" creationId="{D36F95B1-2C55-16C4-DD6F-33CBAED8FF51}"/>
          </ac:grpSpMkLst>
        </pc:grpChg>
        <pc:grpChg chg="mod">
          <ac:chgData name="Devraj, Keerthi (DI SW ICS DVT CSF DV FS)" userId="a61e6969-d85e-42d5-913e-c7fe6fb96353" providerId="ADAL" clId="{DDC5853D-AC23-47BD-A462-B07CB2FB084E}" dt="2024-06-06T10:13:05.887" v="1624"/>
          <ac:grpSpMkLst>
            <pc:docMk/>
            <pc:sldMk cId="767579717" sldId="1241"/>
            <ac:grpSpMk id="31" creationId="{D44640F8-91F7-AF11-6773-8065764AFD5E}"/>
          </ac:grpSpMkLst>
        </pc:grpChg>
        <pc:grpChg chg="mod">
          <ac:chgData name="Devraj, Keerthi (DI SW ICS DVT CSF DV FS)" userId="a61e6969-d85e-42d5-913e-c7fe6fb96353" providerId="ADAL" clId="{DDC5853D-AC23-47BD-A462-B07CB2FB084E}" dt="2024-06-06T10:13:05.887" v="1624"/>
          <ac:grpSpMkLst>
            <pc:docMk/>
            <pc:sldMk cId="767579717" sldId="1241"/>
            <ac:grpSpMk id="41" creationId="{EE09A0DB-E6B7-C8E4-371C-3C530E1C1F6C}"/>
          </ac:grpSpMkLst>
        </pc:grpChg>
        <pc:grpChg chg="add mod">
          <ac:chgData name="Devraj, Keerthi (DI SW ICS DVT CSF DV FS)" userId="a61e6969-d85e-42d5-913e-c7fe6fb96353" providerId="ADAL" clId="{DDC5853D-AC23-47BD-A462-B07CB2FB084E}" dt="2024-06-06T10:19:53.528" v="1836" actId="1035"/>
          <ac:grpSpMkLst>
            <pc:docMk/>
            <pc:sldMk cId="767579717" sldId="1241"/>
            <ac:grpSpMk id="44" creationId="{E9CB2DEF-07CC-06CB-47A3-FAB69F97A57E}"/>
          </ac:grpSpMkLst>
        </pc:grpChg>
        <pc:grpChg chg="mod">
          <ac:chgData name="Devraj, Keerthi (DI SW ICS DVT CSF DV FS)" userId="a61e6969-d85e-42d5-913e-c7fe6fb96353" providerId="ADAL" clId="{DDC5853D-AC23-47BD-A462-B07CB2FB084E}" dt="2024-06-06T10:13:05.887" v="1624"/>
          <ac:grpSpMkLst>
            <pc:docMk/>
            <pc:sldMk cId="767579717" sldId="1241"/>
            <ac:grpSpMk id="46" creationId="{54019584-B84F-0531-2F3F-DF14F88981B0}"/>
          </ac:grpSpMkLst>
        </pc:grpChg>
        <pc:grpChg chg="mod">
          <ac:chgData name="Devraj, Keerthi (DI SW ICS DVT CSF DV FS)" userId="a61e6969-d85e-42d5-913e-c7fe6fb96353" providerId="ADAL" clId="{DDC5853D-AC23-47BD-A462-B07CB2FB084E}" dt="2024-06-06T10:13:05.887" v="1624"/>
          <ac:grpSpMkLst>
            <pc:docMk/>
            <pc:sldMk cId="767579717" sldId="1241"/>
            <ac:grpSpMk id="56" creationId="{85EF6B0E-794D-1BD7-8FF8-8076C4F7EA6C}"/>
          </ac:grpSpMkLst>
        </pc:grpChg>
        <pc:grpChg chg="add mod">
          <ac:chgData name="Devraj, Keerthi (DI SW ICS DVT CSF DV FS)" userId="a61e6969-d85e-42d5-913e-c7fe6fb96353" providerId="ADAL" clId="{DDC5853D-AC23-47BD-A462-B07CB2FB084E}" dt="2024-06-06T10:19:53.528" v="1836" actId="1035"/>
          <ac:grpSpMkLst>
            <pc:docMk/>
            <pc:sldMk cId="767579717" sldId="1241"/>
            <ac:grpSpMk id="60" creationId="{D67E5754-0A0D-1C82-1F44-083928D51E78}"/>
          </ac:grpSpMkLst>
        </pc:grpChg>
        <pc:grpChg chg="mod">
          <ac:chgData name="Devraj, Keerthi (DI SW ICS DVT CSF DV FS)" userId="a61e6969-d85e-42d5-913e-c7fe6fb96353" providerId="ADAL" clId="{DDC5853D-AC23-47BD-A462-B07CB2FB084E}" dt="2024-06-06T10:13:05.887" v="1624"/>
          <ac:grpSpMkLst>
            <pc:docMk/>
            <pc:sldMk cId="767579717" sldId="1241"/>
            <ac:grpSpMk id="62" creationId="{75371C23-8FA2-5C06-D360-840ACB8BD56D}"/>
          </ac:grpSpMkLst>
        </pc:grpChg>
        <pc:grpChg chg="mod">
          <ac:chgData name="Devraj, Keerthi (DI SW ICS DVT CSF DV FS)" userId="a61e6969-d85e-42d5-913e-c7fe6fb96353" providerId="ADAL" clId="{DDC5853D-AC23-47BD-A462-B07CB2FB084E}" dt="2024-06-06T10:13:05.887" v="1624"/>
          <ac:grpSpMkLst>
            <pc:docMk/>
            <pc:sldMk cId="767579717" sldId="1241"/>
            <ac:grpSpMk id="72" creationId="{D93F134F-2932-FBF7-29E5-3E58F7E59A3A}"/>
          </ac:grpSpMkLst>
        </pc:grpChg>
        <pc:grpChg chg="add mod">
          <ac:chgData name="Devraj, Keerthi (DI SW ICS DVT CSF DV FS)" userId="a61e6969-d85e-42d5-913e-c7fe6fb96353" providerId="ADAL" clId="{DDC5853D-AC23-47BD-A462-B07CB2FB084E}" dt="2024-06-06T10:19:53.528" v="1836" actId="1035"/>
          <ac:grpSpMkLst>
            <pc:docMk/>
            <pc:sldMk cId="767579717" sldId="1241"/>
            <ac:grpSpMk id="83" creationId="{6D920D12-CED1-DADB-A15F-35802570A53F}"/>
          </ac:grpSpMkLst>
        </pc:grpChg>
        <pc:grpChg chg="mod">
          <ac:chgData name="Devraj, Keerthi (DI SW ICS DVT CSF DV FS)" userId="a61e6969-d85e-42d5-913e-c7fe6fb96353" providerId="ADAL" clId="{DDC5853D-AC23-47BD-A462-B07CB2FB084E}" dt="2024-06-06T10:13:05.887" v="1624"/>
          <ac:grpSpMkLst>
            <pc:docMk/>
            <pc:sldMk cId="767579717" sldId="1241"/>
            <ac:grpSpMk id="85" creationId="{39329ADA-405A-0FE8-1F23-FEB2AEFA760F}"/>
          </ac:grpSpMkLst>
        </pc:grpChg>
        <pc:grpChg chg="mod">
          <ac:chgData name="Devraj, Keerthi (DI SW ICS DVT CSF DV FS)" userId="a61e6969-d85e-42d5-913e-c7fe6fb96353" providerId="ADAL" clId="{DDC5853D-AC23-47BD-A462-B07CB2FB084E}" dt="2024-06-06T10:13:05.887" v="1624"/>
          <ac:grpSpMkLst>
            <pc:docMk/>
            <pc:sldMk cId="767579717" sldId="1241"/>
            <ac:grpSpMk id="95" creationId="{FC61D00D-677B-06B2-3B4C-C4DE1467C3FC}"/>
          </ac:grpSpMkLst>
        </pc:grpChg>
        <pc:grpChg chg="add mod">
          <ac:chgData name="Devraj, Keerthi (DI SW ICS DVT CSF DV FS)" userId="a61e6969-d85e-42d5-913e-c7fe6fb96353" providerId="ADAL" clId="{DDC5853D-AC23-47BD-A462-B07CB2FB084E}" dt="2024-06-06T10:19:53.528" v="1836" actId="1035"/>
          <ac:grpSpMkLst>
            <pc:docMk/>
            <pc:sldMk cId="767579717" sldId="1241"/>
            <ac:grpSpMk id="99" creationId="{621A2F7E-EF83-275A-06A7-A6C97551400F}"/>
          </ac:grpSpMkLst>
        </pc:grpChg>
        <pc:grpChg chg="mod">
          <ac:chgData name="Devraj, Keerthi (DI SW ICS DVT CSF DV FS)" userId="a61e6969-d85e-42d5-913e-c7fe6fb96353" providerId="ADAL" clId="{DDC5853D-AC23-47BD-A462-B07CB2FB084E}" dt="2024-06-06T10:13:05.887" v="1624"/>
          <ac:grpSpMkLst>
            <pc:docMk/>
            <pc:sldMk cId="767579717" sldId="1241"/>
            <ac:grpSpMk id="101" creationId="{EC240D40-D37B-3548-6104-29E42E39BBF0}"/>
          </ac:grpSpMkLst>
        </pc:grpChg>
        <pc:grpChg chg="mod">
          <ac:chgData name="Devraj, Keerthi (DI SW ICS DVT CSF DV FS)" userId="a61e6969-d85e-42d5-913e-c7fe6fb96353" providerId="ADAL" clId="{DDC5853D-AC23-47BD-A462-B07CB2FB084E}" dt="2024-06-06T10:13:05.887" v="1624"/>
          <ac:grpSpMkLst>
            <pc:docMk/>
            <pc:sldMk cId="767579717" sldId="1241"/>
            <ac:grpSpMk id="111" creationId="{14DDAE38-938E-AABD-D0EC-64441078BDA3}"/>
          </ac:grpSpMkLst>
        </pc:grpChg>
        <pc:grpChg chg="add mod ord">
          <ac:chgData name="Devraj, Keerthi (DI SW ICS DVT CSF DV FS)" userId="a61e6969-d85e-42d5-913e-c7fe6fb96353" providerId="ADAL" clId="{DDC5853D-AC23-47BD-A462-B07CB2FB084E}" dt="2024-06-07T09:37:29.645" v="5703" actId="1076"/>
          <ac:grpSpMkLst>
            <pc:docMk/>
            <pc:sldMk cId="767579717" sldId="1241"/>
            <ac:grpSpMk id="127" creationId="{F85643EA-AA9E-C130-519F-7B4C323FA732}"/>
          </ac:grpSpMkLst>
        </pc:grpChg>
        <pc:picChg chg="del mod topLvl modCrop">
          <ac:chgData name="Devraj, Keerthi (DI SW ICS DVT CSF DV FS)" userId="a61e6969-d85e-42d5-913e-c7fe6fb96353" providerId="ADAL" clId="{DDC5853D-AC23-47BD-A462-B07CB2FB084E}" dt="2024-06-06T09:35:35.427" v="612" actId="21"/>
          <ac:picMkLst>
            <pc:docMk/>
            <pc:sldMk cId="767579717" sldId="1241"/>
            <ac:picMk id="5" creationId="{22210724-4829-C6FA-8755-ABDC58B3B940}"/>
          </ac:picMkLst>
        </pc:picChg>
        <pc:picChg chg="add del mod">
          <ac:chgData name="Devraj, Keerthi (DI SW ICS DVT CSF DV FS)" userId="a61e6969-d85e-42d5-913e-c7fe6fb96353" providerId="ADAL" clId="{DDC5853D-AC23-47BD-A462-B07CB2FB084E}" dt="2024-06-07T09:37:14.621" v="5699" actId="478"/>
          <ac:picMkLst>
            <pc:docMk/>
            <pc:sldMk cId="767579717" sldId="1241"/>
            <ac:picMk id="8" creationId="{0B0CF26C-EB3B-F17D-A832-30E039D3C706}"/>
          </ac:picMkLst>
        </pc:picChg>
        <pc:picChg chg="add mod">
          <ac:chgData name="Devraj, Keerthi (DI SW ICS DVT CSF DV FS)" userId="a61e6969-d85e-42d5-913e-c7fe6fb96353" providerId="ADAL" clId="{DDC5853D-AC23-47BD-A462-B07CB2FB084E}" dt="2024-06-07T09:37:21.662" v="5700" actId="164"/>
          <ac:picMkLst>
            <pc:docMk/>
            <pc:sldMk cId="767579717" sldId="1241"/>
            <ac:picMk id="124" creationId="{0B0CF26C-EB3B-F17D-A832-30E039D3C706}"/>
          </ac:picMkLst>
        </pc:picChg>
        <pc:picChg chg="add mod">
          <ac:chgData name="Devraj, Keerthi (DI SW ICS DVT CSF DV FS)" userId="a61e6969-d85e-42d5-913e-c7fe6fb96353" providerId="ADAL" clId="{DDC5853D-AC23-47BD-A462-B07CB2FB084E}" dt="2024-06-07T09:37:22.630" v="5701"/>
          <ac:picMkLst>
            <pc:docMk/>
            <pc:sldMk cId="767579717" sldId="1241"/>
            <ac:picMk id="128" creationId="{7CBAB174-78EA-19CC-25C0-F528024B0072}"/>
          </ac:picMkLst>
        </pc:picChg>
        <pc:cxnChg chg="mod">
          <ac:chgData name="Devraj, Keerthi (DI SW ICS DVT CSF DV FS)" userId="a61e6969-d85e-42d5-913e-c7fe6fb96353" providerId="ADAL" clId="{DDC5853D-AC23-47BD-A462-B07CB2FB084E}" dt="2024-06-06T10:13:05.887" v="1624"/>
          <ac:cxnSpMkLst>
            <pc:docMk/>
            <pc:sldMk cId="767579717" sldId="1241"/>
            <ac:cxnSpMk id="14" creationId="{BC5C8D2D-23D4-B71D-2FE8-7385EEFF680C}"/>
          </ac:cxnSpMkLst>
        </pc:cxnChg>
        <pc:cxnChg chg="mod">
          <ac:chgData name="Devraj, Keerthi (DI SW ICS DVT CSF DV FS)" userId="a61e6969-d85e-42d5-913e-c7fe6fb96353" providerId="ADAL" clId="{DDC5853D-AC23-47BD-A462-B07CB2FB084E}" dt="2024-06-06T10:13:05.887" v="1624"/>
          <ac:cxnSpMkLst>
            <pc:docMk/>
            <pc:sldMk cId="767579717" sldId="1241"/>
            <ac:cxnSpMk id="15" creationId="{23C477F7-10F7-1B58-4FFE-C1D3CDDA6FD8}"/>
          </ac:cxnSpMkLst>
        </pc:cxnChg>
        <pc:cxnChg chg="mod">
          <ac:chgData name="Devraj, Keerthi (DI SW ICS DVT CSF DV FS)" userId="a61e6969-d85e-42d5-913e-c7fe6fb96353" providerId="ADAL" clId="{DDC5853D-AC23-47BD-A462-B07CB2FB084E}" dt="2024-06-06T10:13:05.887" v="1624"/>
          <ac:cxnSpMkLst>
            <pc:docMk/>
            <pc:sldMk cId="767579717" sldId="1241"/>
            <ac:cxnSpMk id="16" creationId="{0BFEEAA0-838C-7043-DFF8-C7D2C2DE5898}"/>
          </ac:cxnSpMkLst>
        </pc:cxnChg>
        <pc:cxnChg chg="mod">
          <ac:chgData name="Devraj, Keerthi (DI SW ICS DVT CSF DV FS)" userId="a61e6969-d85e-42d5-913e-c7fe6fb96353" providerId="ADAL" clId="{DDC5853D-AC23-47BD-A462-B07CB2FB084E}" dt="2024-06-06T10:13:05.887" v="1624"/>
          <ac:cxnSpMkLst>
            <pc:docMk/>
            <pc:sldMk cId="767579717" sldId="1241"/>
            <ac:cxnSpMk id="17" creationId="{6D7176F3-A853-5054-EAFF-BE31CF294AAD}"/>
          </ac:cxnSpMkLst>
        </pc:cxnChg>
        <pc:cxnChg chg="mod">
          <ac:chgData name="Devraj, Keerthi (DI SW ICS DVT CSF DV FS)" userId="a61e6969-d85e-42d5-913e-c7fe6fb96353" providerId="ADAL" clId="{DDC5853D-AC23-47BD-A462-B07CB2FB084E}" dt="2024-06-06T10:13:05.887" v="1624"/>
          <ac:cxnSpMkLst>
            <pc:docMk/>
            <pc:sldMk cId="767579717" sldId="1241"/>
            <ac:cxnSpMk id="18" creationId="{4C371CFE-36D1-4CCD-B6F5-D63B1CB3BBEA}"/>
          </ac:cxnSpMkLst>
        </pc:cxnChg>
        <pc:cxnChg chg="mod">
          <ac:chgData name="Devraj, Keerthi (DI SW ICS DVT CSF DV FS)" userId="a61e6969-d85e-42d5-913e-c7fe6fb96353" providerId="ADAL" clId="{DDC5853D-AC23-47BD-A462-B07CB2FB084E}" dt="2024-06-06T10:13:05.887" v="1624"/>
          <ac:cxnSpMkLst>
            <pc:docMk/>
            <pc:sldMk cId="767579717" sldId="1241"/>
            <ac:cxnSpMk id="19" creationId="{50CDE9C4-42DE-5C83-00E2-460820E8B77D}"/>
          </ac:cxnSpMkLst>
        </pc:cxnChg>
        <pc:cxnChg chg="mod">
          <ac:chgData name="Devraj, Keerthi (DI SW ICS DVT CSF DV FS)" userId="a61e6969-d85e-42d5-913e-c7fe6fb96353" providerId="ADAL" clId="{DDC5853D-AC23-47BD-A462-B07CB2FB084E}" dt="2024-06-06T10:13:05.887" v="1624"/>
          <ac:cxnSpMkLst>
            <pc:docMk/>
            <pc:sldMk cId="767579717" sldId="1241"/>
            <ac:cxnSpMk id="21" creationId="{6DD5276B-1900-4024-1605-6D434430DA05}"/>
          </ac:cxnSpMkLst>
        </pc:cxnChg>
        <pc:cxnChg chg="mod">
          <ac:chgData name="Devraj, Keerthi (DI SW ICS DVT CSF DV FS)" userId="a61e6969-d85e-42d5-913e-c7fe6fb96353" providerId="ADAL" clId="{DDC5853D-AC23-47BD-A462-B07CB2FB084E}" dt="2024-06-06T10:13:05.887" v="1624"/>
          <ac:cxnSpMkLst>
            <pc:docMk/>
            <pc:sldMk cId="767579717" sldId="1241"/>
            <ac:cxnSpMk id="22" creationId="{438A4BD0-7AB8-F437-E9E1-5165DD322311}"/>
          </ac:cxnSpMkLst>
        </pc:cxnChg>
        <pc:cxnChg chg="mod">
          <ac:chgData name="Devraj, Keerthi (DI SW ICS DVT CSF DV FS)" userId="a61e6969-d85e-42d5-913e-c7fe6fb96353" providerId="ADAL" clId="{DDC5853D-AC23-47BD-A462-B07CB2FB084E}" dt="2024-06-06T10:13:05.887" v="1624"/>
          <ac:cxnSpMkLst>
            <pc:docMk/>
            <pc:sldMk cId="767579717" sldId="1241"/>
            <ac:cxnSpMk id="23" creationId="{45B7CBC0-E26F-9CBF-923D-365A8B806A07}"/>
          </ac:cxnSpMkLst>
        </pc:cxnChg>
        <pc:cxnChg chg="mod">
          <ac:chgData name="Devraj, Keerthi (DI SW ICS DVT CSF DV FS)" userId="a61e6969-d85e-42d5-913e-c7fe6fb96353" providerId="ADAL" clId="{DDC5853D-AC23-47BD-A462-B07CB2FB084E}" dt="2024-06-06T10:13:05.887" v="1624"/>
          <ac:cxnSpMkLst>
            <pc:docMk/>
            <pc:sldMk cId="767579717" sldId="1241"/>
            <ac:cxnSpMk id="24" creationId="{77DF707C-FCB7-DF32-9134-4933C6066D2B}"/>
          </ac:cxnSpMkLst>
        </pc:cxnChg>
        <pc:cxnChg chg="mod">
          <ac:chgData name="Devraj, Keerthi (DI SW ICS DVT CSF DV FS)" userId="a61e6969-d85e-42d5-913e-c7fe6fb96353" providerId="ADAL" clId="{DDC5853D-AC23-47BD-A462-B07CB2FB084E}" dt="2024-06-06T10:13:05.887" v="1624"/>
          <ac:cxnSpMkLst>
            <pc:docMk/>
            <pc:sldMk cId="767579717" sldId="1241"/>
            <ac:cxnSpMk id="26" creationId="{EC37A79E-A7C5-4702-BA68-A5FDE5D35229}"/>
          </ac:cxnSpMkLst>
        </pc:cxnChg>
        <pc:cxnChg chg="mod">
          <ac:chgData name="Devraj, Keerthi (DI SW ICS DVT CSF DV FS)" userId="a61e6969-d85e-42d5-913e-c7fe6fb96353" providerId="ADAL" clId="{DDC5853D-AC23-47BD-A462-B07CB2FB084E}" dt="2024-06-06T10:13:05.887" v="1624"/>
          <ac:cxnSpMkLst>
            <pc:docMk/>
            <pc:sldMk cId="767579717" sldId="1241"/>
            <ac:cxnSpMk id="27" creationId="{B5B30F5F-4016-2CF7-DE86-D06E6726D77A}"/>
          </ac:cxnSpMkLst>
        </pc:cxnChg>
        <pc:cxnChg chg="mod">
          <ac:chgData name="Devraj, Keerthi (DI SW ICS DVT CSF DV FS)" userId="a61e6969-d85e-42d5-913e-c7fe6fb96353" providerId="ADAL" clId="{DDC5853D-AC23-47BD-A462-B07CB2FB084E}" dt="2024-06-06T10:13:05.887" v="1624"/>
          <ac:cxnSpMkLst>
            <pc:docMk/>
            <pc:sldMk cId="767579717" sldId="1241"/>
            <ac:cxnSpMk id="35" creationId="{587036A4-6DB5-E8B4-62A8-8AE581D5C6EC}"/>
          </ac:cxnSpMkLst>
        </pc:cxnChg>
        <pc:cxnChg chg="mod">
          <ac:chgData name="Devraj, Keerthi (DI SW ICS DVT CSF DV FS)" userId="a61e6969-d85e-42d5-913e-c7fe6fb96353" providerId="ADAL" clId="{DDC5853D-AC23-47BD-A462-B07CB2FB084E}" dt="2024-06-06T10:13:05.887" v="1624"/>
          <ac:cxnSpMkLst>
            <pc:docMk/>
            <pc:sldMk cId="767579717" sldId="1241"/>
            <ac:cxnSpMk id="36" creationId="{30F2F777-41D2-F466-B7DB-FAEDE084AD3C}"/>
          </ac:cxnSpMkLst>
        </pc:cxnChg>
        <pc:cxnChg chg="mod">
          <ac:chgData name="Devraj, Keerthi (DI SW ICS DVT CSF DV FS)" userId="a61e6969-d85e-42d5-913e-c7fe6fb96353" providerId="ADAL" clId="{DDC5853D-AC23-47BD-A462-B07CB2FB084E}" dt="2024-06-06T10:13:05.887" v="1624"/>
          <ac:cxnSpMkLst>
            <pc:docMk/>
            <pc:sldMk cId="767579717" sldId="1241"/>
            <ac:cxnSpMk id="37" creationId="{9349EC88-771B-E5F6-F050-3EB7A9F9484E}"/>
          </ac:cxnSpMkLst>
        </pc:cxnChg>
        <pc:cxnChg chg="mod">
          <ac:chgData name="Devraj, Keerthi (DI SW ICS DVT CSF DV FS)" userId="a61e6969-d85e-42d5-913e-c7fe6fb96353" providerId="ADAL" clId="{DDC5853D-AC23-47BD-A462-B07CB2FB084E}" dt="2024-06-06T10:13:05.887" v="1624"/>
          <ac:cxnSpMkLst>
            <pc:docMk/>
            <pc:sldMk cId="767579717" sldId="1241"/>
            <ac:cxnSpMk id="38" creationId="{969E70DB-4B25-22A4-4850-993E0BA5F691}"/>
          </ac:cxnSpMkLst>
        </pc:cxnChg>
        <pc:cxnChg chg="mod">
          <ac:chgData name="Devraj, Keerthi (DI SW ICS DVT CSF DV FS)" userId="a61e6969-d85e-42d5-913e-c7fe6fb96353" providerId="ADAL" clId="{DDC5853D-AC23-47BD-A462-B07CB2FB084E}" dt="2024-06-06T10:13:05.887" v="1624"/>
          <ac:cxnSpMkLst>
            <pc:docMk/>
            <pc:sldMk cId="767579717" sldId="1241"/>
            <ac:cxnSpMk id="39" creationId="{27407316-931E-586F-D051-8508AB8DA703}"/>
          </ac:cxnSpMkLst>
        </pc:cxnChg>
        <pc:cxnChg chg="mod">
          <ac:chgData name="Devraj, Keerthi (DI SW ICS DVT CSF DV FS)" userId="a61e6969-d85e-42d5-913e-c7fe6fb96353" providerId="ADAL" clId="{DDC5853D-AC23-47BD-A462-B07CB2FB084E}" dt="2024-06-06T10:13:05.887" v="1624"/>
          <ac:cxnSpMkLst>
            <pc:docMk/>
            <pc:sldMk cId="767579717" sldId="1241"/>
            <ac:cxnSpMk id="40" creationId="{0755689F-B3CF-23F1-0948-CDD950864163}"/>
          </ac:cxnSpMkLst>
        </pc:cxnChg>
        <pc:cxnChg chg="mod">
          <ac:chgData name="Devraj, Keerthi (DI SW ICS DVT CSF DV FS)" userId="a61e6969-d85e-42d5-913e-c7fe6fb96353" providerId="ADAL" clId="{DDC5853D-AC23-47BD-A462-B07CB2FB084E}" dt="2024-06-06T10:13:05.887" v="1624"/>
          <ac:cxnSpMkLst>
            <pc:docMk/>
            <pc:sldMk cId="767579717" sldId="1241"/>
            <ac:cxnSpMk id="50" creationId="{80813BF9-B401-2A12-BA63-BF20C212DC60}"/>
          </ac:cxnSpMkLst>
        </pc:cxnChg>
        <pc:cxnChg chg="mod">
          <ac:chgData name="Devraj, Keerthi (DI SW ICS DVT CSF DV FS)" userId="a61e6969-d85e-42d5-913e-c7fe6fb96353" providerId="ADAL" clId="{DDC5853D-AC23-47BD-A462-B07CB2FB084E}" dt="2024-06-06T10:13:05.887" v="1624"/>
          <ac:cxnSpMkLst>
            <pc:docMk/>
            <pc:sldMk cId="767579717" sldId="1241"/>
            <ac:cxnSpMk id="51" creationId="{A28DFCD8-8552-7078-122C-BCD8A2D93139}"/>
          </ac:cxnSpMkLst>
        </pc:cxnChg>
        <pc:cxnChg chg="mod">
          <ac:chgData name="Devraj, Keerthi (DI SW ICS DVT CSF DV FS)" userId="a61e6969-d85e-42d5-913e-c7fe6fb96353" providerId="ADAL" clId="{DDC5853D-AC23-47BD-A462-B07CB2FB084E}" dt="2024-06-06T10:13:05.887" v="1624"/>
          <ac:cxnSpMkLst>
            <pc:docMk/>
            <pc:sldMk cId="767579717" sldId="1241"/>
            <ac:cxnSpMk id="52" creationId="{7C4B0CE7-1860-337C-9D8E-8D4E0118873C}"/>
          </ac:cxnSpMkLst>
        </pc:cxnChg>
        <pc:cxnChg chg="mod">
          <ac:chgData name="Devraj, Keerthi (DI SW ICS DVT CSF DV FS)" userId="a61e6969-d85e-42d5-913e-c7fe6fb96353" providerId="ADAL" clId="{DDC5853D-AC23-47BD-A462-B07CB2FB084E}" dt="2024-06-06T10:13:05.887" v="1624"/>
          <ac:cxnSpMkLst>
            <pc:docMk/>
            <pc:sldMk cId="767579717" sldId="1241"/>
            <ac:cxnSpMk id="53" creationId="{E64EAADC-0D85-5DB9-ED71-96C971059502}"/>
          </ac:cxnSpMkLst>
        </pc:cxnChg>
        <pc:cxnChg chg="mod">
          <ac:chgData name="Devraj, Keerthi (DI SW ICS DVT CSF DV FS)" userId="a61e6969-d85e-42d5-913e-c7fe6fb96353" providerId="ADAL" clId="{DDC5853D-AC23-47BD-A462-B07CB2FB084E}" dt="2024-06-06T10:13:05.887" v="1624"/>
          <ac:cxnSpMkLst>
            <pc:docMk/>
            <pc:sldMk cId="767579717" sldId="1241"/>
            <ac:cxnSpMk id="54" creationId="{CBC260ED-E3AC-3B17-08E6-DA7F7351B049}"/>
          </ac:cxnSpMkLst>
        </pc:cxnChg>
        <pc:cxnChg chg="mod">
          <ac:chgData name="Devraj, Keerthi (DI SW ICS DVT CSF DV FS)" userId="a61e6969-d85e-42d5-913e-c7fe6fb96353" providerId="ADAL" clId="{DDC5853D-AC23-47BD-A462-B07CB2FB084E}" dt="2024-06-06T10:13:05.887" v="1624"/>
          <ac:cxnSpMkLst>
            <pc:docMk/>
            <pc:sldMk cId="767579717" sldId="1241"/>
            <ac:cxnSpMk id="55" creationId="{15BB92E8-C751-5FC8-BC82-A0B9372A0255}"/>
          </ac:cxnSpMkLst>
        </pc:cxnChg>
        <pc:cxnChg chg="mod">
          <ac:chgData name="Devraj, Keerthi (DI SW ICS DVT CSF DV FS)" userId="a61e6969-d85e-42d5-913e-c7fe6fb96353" providerId="ADAL" clId="{DDC5853D-AC23-47BD-A462-B07CB2FB084E}" dt="2024-06-06T10:13:05.887" v="1624"/>
          <ac:cxnSpMkLst>
            <pc:docMk/>
            <pc:sldMk cId="767579717" sldId="1241"/>
            <ac:cxnSpMk id="66" creationId="{03171280-2309-3D99-B474-5B614B102F09}"/>
          </ac:cxnSpMkLst>
        </pc:cxnChg>
        <pc:cxnChg chg="mod">
          <ac:chgData name="Devraj, Keerthi (DI SW ICS DVT CSF DV FS)" userId="a61e6969-d85e-42d5-913e-c7fe6fb96353" providerId="ADAL" clId="{DDC5853D-AC23-47BD-A462-B07CB2FB084E}" dt="2024-06-06T10:13:05.887" v="1624"/>
          <ac:cxnSpMkLst>
            <pc:docMk/>
            <pc:sldMk cId="767579717" sldId="1241"/>
            <ac:cxnSpMk id="67" creationId="{19FDD4BA-2BDE-318C-48E1-1CA9759AAFC6}"/>
          </ac:cxnSpMkLst>
        </pc:cxnChg>
        <pc:cxnChg chg="mod">
          <ac:chgData name="Devraj, Keerthi (DI SW ICS DVT CSF DV FS)" userId="a61e6969-d85e-42d5-913e-c7fe6fb96353" providerId="ADAL" clId="{DDC5853D-AC23-47BD-A462-B07CB2FB084E}" dt="2024-06-06T10:13:05.887" v="1624"/>
          <ac:cxnSpMkLst>
            <pc:docMk/>
            <pc:sldMk cId="767579717" sldId="1241"/>
            <ac:cxnSpMk id="68" creationId="{1F421FC8-F993-7D1E-7824-A9B886F96AC6}"/>
          </ac:cxnSpMkLst>
        </pc:cxnChg>
        <pc:cxnChg chg="mod">
          <ac:chgData name="Devraj, Keerthi (DI SW ICS DVT CSF DV FS)" userId="a61e6969-d85e-42d5-913e-c7fe6fb96353" providerId="ADAL" clId="{DDC5853D-AC23-47BD-A462-B07CB2FB084E}" dt="2024-06-06T10:13:05.887" v="1624"/>
          <ac:cxnSpMkLst>
            <pc:docMk/>
            <pc:sldMk cId="767579717" sldId="1241"/>
            <ac:cxnSpMk id="69" creationId="{3FB0BD0B-1387-BDB0-E96B-CC6D9EA9DB75}"/>
          </ac:cxnSpMkLst>
        </pc:cxnChg>
        <pc:cxnChg chg="mod">
          <ac:chgData name="Devraj, Keerthi (DI SW ICS DVT CSF DV FS)" userId="a61e6969-d85e-42d5-913e-c7fe6fb96353" providerId="ADAL" clId="{DDC5853D-AC23-47BD-A462-B07CB2FB084E}" dt="2024-06-06T10:13:05.887" v="1624"/>
          <ac:cxnSpMkLst>
            <pc:docMk/>
            <pc:sldMk cId="767579717" sldId="1241"/>
            <ac:cxnSpMk id="70" creationId="{2E8779A2-99B4-C319-9C95-62914DCF932C}"/>
          </ac:cxnSpMkLst>
        </pc:cxnChg>
        <pc:cxnChg chg="mod">
          <ac:chgData name="Devraj, Keerthi (DI SW ICS DVT CSF DV FS)" userId="a61e6969-d85e-42d5-913e-c7fe6fb96353" providerId="ADAL" clId="{DDC5853D-AC23-47BD-A462-B07CB2FB084E}" dt="2024-06-06T10:13:05.887" v="1624"/>
          <ac:cxnSpMkLst>
            <pc:docMk/>
            <pc:sldMk cId="767579717" sldId="1241"/>
            <ac:cxnSpMk id="71" creationId="{4C66AB3D-DE94-D31F-EC8E-DE08B0FC6028}"/>
          </ac:cxnSpMkLst>
        </pc:cxnChg>
        <pc:cxnChg chg="add mod">
          <ac:chgData name="Devraj, Keerthi (DI SW ICS DVT CSF DV FS)" userId="a61e6969-d85e-42d5-913e-c7fe6fb96353" providerId="ADAL" clId="{DDC5853D-AC23-47BD-A462-B07CB2FB084E}" dt="2024-06-06T10:19:53.528" v="1836" actId="1035"/>
          <ac:cxnSpMkLst>
            <pc:docMk/>
            <pc:sldMk cId="767579717" sldId="1241"/>
            <ac:cxnSpMk id="75" creationId="{05010A82-6AB3-3FB2-5FBA-3C373B448E00}"/>
          </ac:cxnSpMkLst>
        </pc:cxnChg>
        <pc:cxnChg chg="add mod">
          <ac:chgData name="Devraj, Keerthi (DI SW ICS DVT CSF DV FS)" userId="a61e6969-d85e-42d5-913e-c7fe6fb96353" providerId="ADAL" clId="{DDC5853D-AC23-47BD-A462-B07CB2FB084E}" dt="2024-06-06T10:19:53.528" v="1836" actId="1035"/>
          <ac:cxnSpMkLst>
            <pc:docMk/>
            <pc:sldMk cId="767579717" sldId="1241"/>
            <ac:cxnSpMk id="78" creationId="{AF0DA6BA-D7B3-4E40-AD7B-D1110DA6DFDF}"/>
          </ac:cxnSpMkLst>
        </pc:cxnChg>
        <pc:cxnChg chg="add mod">
          <ac:chgData name="Devraj, Keerthi (DI SW ICS DVT CSF DV FS)" userId="a61e6969-d85e-42d5-913e-c7fe6fb96353" providerId="ADAL" clId="{DDC5853D-AC23-47BD-A462-B07CB2FB084E}" dt="2024-06-06T10:19:53.528" v="1836" actId="1035"/>
          <ac:cxnSpMkLst>
            <pc:docMk/>
            <pc:sldMk cId="767579717" sldId="1241"/>
            <ac:cxnSpMk id="79" creationId="{A8A25E52-3B2E-128B-2FE8-6B0BD1A2588C}"/>
          </ac:cxnSpMkLst>
        </pc:cxnChg>
        <pc:cxnChg chg="add mod">
          <ac:chgData name="Devraj, Keerthi (DI SW ICS DVT CSF DV FS)" userId="a61e6969-d85e-42d5-913e-c7fe6fb96353" providerId="ADAL" clId="{DDC5853D-AC23-47BD-A462-B07CB2FB084E}" dt="2024-06-06T10:19:53.528" v="1836" actId="1035"/>
          <ac:cxnSpMkLst>
            <pc:docMk/>
            <pc:sldMk cId="767579717" sldId="1241"/>
            <ac:cxnSpMk id="80" creationId="{036CFED2-CAF6-4EE5-ED3A-F6E97E614849}"/>
          </ac:cxnSpMkLst>
        </pc:cxnChg>
        <pc:cxnChg chg="mod">
          <ac:chgData name="Devraj, Keerthi (DI SW ICS DVT CSF DV FS)" userId="a61e6969-d85e-42d5-913e-c7fe6fb96353" providerId="ADAL" clId="{DDC5853D-AC23-47BD-A462-B07CB2FB084E}" dt="2024-06-06T10:13:05.887" v="1624"/>
          <ac:cxnSpMkLst>
            <pc:docMk/>
            <pc:sldMk cId="767579717" sldId="1241"/>
            <ac:cxnSpMk id="89" creationId="{BBB23D57-6BD5-7F15-A398-2ABEF3CEDF0D}"/>
          </ac:cxnSpMkLst>
        </pc:cxnChg>
        <pc:cxnChg chg="mod">
          <ac:chgData name="Devraj, Keerthi (DI SW ICS DVT CSF DV FS)" userId="a61e6969-d85e-42d5-913e-c7fe6fb96353" providerId="ADAL" clId="{DDC5853D-AC23-47BD-A462-B07CB2FB084E}" dt="2024-06-06T10:13:05.887" v="1624"/>
          <ac:cxnSpMkLst>
            <pc:docMk/>
            <pc:sldMk cId="767579717" sldId="1241"/>
            <ac:cxnSpMk id="90" creationId="{16AA8E47-2EA2-AA7A-A2F0-B5C5E064CD28}"/>
          </ac:cxnSpMkLst>
        </pc:cxnChg>
        <pc:cxnChg chg="mod">
          <ac:chgData name="Devraj, Keerthi (DI SW ICS DVT CSF DV FS)" userId="a61e6969-d85e-42d5-913e-c7fe6fb96353" providerId="ADAL" clId="{DDC5853D-AC23-47BD-A462-B07CB2FB084E}" dt="2024-06-06T10:13:05.887" v="1624"/>
          <ac:cxnSpMkLst>
            <pc:docMk/>
            <pc:sldMk cId="767579717" sldId="1241"/>
            <ac:cxnSpMk id="91" creationId="{27733037-8D41-A9FE-264A-4321C4D22756}"/>
          </ac:cxnSpMkLst>
        </pc:cxnChg>
        <pc:cxnChg chg="mod">
          <ac:chgData name="Devraj, Keerthi (DI SW ICS DVT CSF DV FS)" userId="a61e6969-d85e-42d5-913e-c7fe6fb96353" providerId="ADAL" clId="{DDC5853D-AC23-47BD-A462-B07CB2FB084E}" dt="2024-06-06T10:13:05.887" v="1624"/>
          <ac:cxnSpMkLst>
            <pc:docMk/>
            <pc:sldMk cId="767579717" sldId="1241"/>
            <ac:cxnSpMk id="92" creationId="{33F4D2F9-0F6E-6F30-40F4-AE122ACB02CF}"/>
          </ac:cxnSpMkLst>
        </pc:cxnChg>
        <pc:cxnChg chg="mod">
          <ac:chgData name="Devraj, Keerthi (DI SW ICS DVT CSF DV FS)" userId="a61e6969-d85e-42d5-913e-c7fe6fb96353" providerId="ADAL" clId="{DDC5853D-AC23-47BD-A462-B07CB2FB084E}" dt="2024-06-06T10:13:05.887" v="1624"/>
          <ac:cxnSpMkLst>
            <pc:docMk/>
            <pc:sldMk cId="767579717" sldId="1241"/>
            <ac:cxnSpMk id="93" creationId="{099F9519-2028-8720-64D6-2F303C146038}"/>
          </ac:cxnSpMkLst>
        </pc:cxnChg>
        <pc:cxnChg chg="mod">
          <ac:chgData name="Devraj, Keerthi (DI SW ICS DVT CSF DV FS)" userId="a61e6969-d85e-42d5-913e-c7fe6fb96353" providerId="ADAL" clId="{DDC5853D-AC23-47BD-A462-B07CB2FB084E}" dt="2024-06-06T10:13:05.887" v="1624"/>
          <ac:cxnSpMkLst>
            <pc:docMk/>
            <pc:sldMk cId="767579717" sldId="1241"/>
            <ac:cxnSpMk id="94" creationId="{BEF21698-F650-48CE-611D-5C45F3698517}"/>
          </ac:cxnSpMkLst>
        </pc:cxnChg>
        <pc:cxnChg chg="mod">
          <ac:chgData name="Devraj, Keerthi (DI SW ICS DVT CSF DV FS)" userId="a61e6969-d85e-42d5-913e-c7fe6fb96353" providerId="ADAL" clId="{DDC5853D-AC23-47BD-A462-B07CB2FB084E}" dt="2024-06-06T10:13:05.887" v="1624"/>
          <ac:cxnSpMkLst>
            <pc:docMk/>
            <pc:sldMk cId="767579717" sldId="1241"/>
            <ac:cxnSpMk id="105" creationId="{F81B0FDC-DE69-F1DC-AF7A-24773263F377}"/>
          </ac:cxnSpMkLst>
        </pc:cxnChg>
        <pc:cxnChg chg="mod">
          <ac:chgData name="Devraj, Keerthi (DI SW ICS DVT CSF DV FS)" userId="a61e6969-d85e-42d5-913e-c7fe6fb96353" providerId="ADAL" clId="{DDC5853D-AC23-47BD-A462-B07CB2FB084E}" dt="2024-06-06T10:13:05.887" v="1624"/>
          <ac:cxnSpMkLst>
            <pc:docMk/>
            <pc:sldMk cId="767579717" sldId="1241"/>
            <ac:cxnSpMk id="106" creationId="{1343AD42-2DB9-FBFA-25BA-32F0E24CFDC6}"/>
          </ac:cxnSpMkLst>
        </pc:cxnChg>
        <pc:cxnChg chg="mod">
          <ac:chgData name="Devraj, Keerthi (DI SW ICS DVT CSF DV FS)" userId="a61e6969-d85e-42d5-913e-c7fe6fb96353" providerId="ADAL" clId="{DDC5853D-AC23-47BD-A462-B07CB2FB084E}" dt="2024-06-06T10:13:05.887" v="1624"/>
          <ac:cxnSpMkLst>
            <pc:docMk/>
            <pc:sldMk cId="767579717" sldId="1241"/>
            <ac:cxnSpMk id="107" creationId="{6F7204E7-61E8-1770-71AC-0B427DF790CC}"/>
          </ac:cxnSpMkLst>
        </pc:cxnChg>
        <pc:cxnChg chg="mod">
          <ac:chgData name="Devraj, Keerthi (DI SW ICS DVT CSF DV FS)" userId="a61e6969-d85e-42d5-913e-c7fe6fb96353" providerId="ADAL" clId="{DDC5853D-AC23-47BD-A462-B07CB2FB084E}" dt="2024-06-06T10:13:05.887" v="1624"/>
          <ac:cxnSpMkLst>
            <pc:docMk/>
            <pc:sldMk cId="767579717" sldId="1241"/>
            <ac:cxnSpMk id="108" creationId="{572FFC78-80B3-120D-E814-BB14D202BB52}"/>
          </ac:cxnSpMkLst>
        </pc:cxnChg>
        <pc:cxnChg chg="mod">
          <ac:chgData name="Devraj, Keerthi (DI SW ICS DVT CSF DV FS)" userId="a61e6969-d85e-42d5-913e-c7fe6fb96353" providerId="ADAL" clId="{DDC5853D-AC23-47BD-A462-B07CB2FB084E}" dt="2024-06-06T10:13:05.887" v="1624"/>
          <ac:cxnSpMkLst>
            <pc:docMk/>
            <pc:sldMk cId="767579717" sldId="1241"/>
            <ac:cxnSpMk id="109" creationId="{AE9739B1-C110-700E-7C1E-FEC4965492E6}"/>
          </ac:cxnSpMkLst>
        </pc:cxnChg>
        <pc:cxnChg chg="mod">
          <ac:chgData name="Devraj, Keerthi (DI SW ICS DVT CSF DV FS)" userId="a61e6969-d85e-42d5-913e-c7fe6fb96353" providerId="ADAL" clId="{DDC5853D-AC23-47BD-A462-B07CB2FB084E}" dt="2024-06-06T10:13:05.887" v="1624"/>
          <ac:cxnSpMkLst>
            <pc:docMk/>
            <pc:sldMk cId="767579717" sldId="1241"/>
            <ac:cxnSpMk id="110" creationId="{52C8CFFC-95B8-608D-DA72-7A964CD9EA50}"/>
          </ac:cxnSpMkLst>
        </pc:cxnChg>
        <pc:cxnChg chg="add mod">
          <ac:chgData name="Devraj, Keerthi (DI SW ICS DVT CSF DV FS)" userId="a61e6969-d85e-42d5-913e-c7fe6fb96353" providerId="ADAL" clId="{DDC5853D-AC23-47BD-A462-B07CB2FB084E}" dt="2024-06-06T10:19:53.528" v="1836" actId="1035"/>
          <ac:cxnSpMkLst>
            <pc:docMk/>
            <pc:sldMk cId="767579717" sldId="1241"/>
            <ac:cxnSpMk id="114" creationId="{19B756E1-8EB2-D7A4-D9A5-E878273915CB}"/>
          </ac:cxnSpMkLst>
        </pc:cxnChg>
        <pc:cxnChg chg="add mod">
          <ac:chgData name="Devraj, Keerthi (DI SW ICS DVT CSF DV FS)" userId="a61e6969-d85e-42d5-913e-c7fe6fb96353" providerId="ADAL" clId="{DDC5853D-AC23-47BD-A462-B07CB2FB084E}" dt="2024-06-06T10:19:53.528" v="1836" actId="1035"/>
          <ac:cxnSpMkLst>
            <pc:docMk/>
            <pc:sldMk cId="767579717" sldId="1241"/>
            <ac:cxnSpMk id="119" creationId="{857B0AA5-D897-A3F1-ECD2-D8DD42015FB8}"/>
          </ac:cxnSpMkLst>
        </pc:cxnChg>
        <pc:cxnChg chg="add mod">
          <ac:chgData name="Devraj, Keerthi (DI SW ICS DVT CSF DV FS)" userId="a61e6969-d85e-42d5-913e-c7fe6fb96353" providerId="ADAL" clId="{DDC5853D-AC23-47BD-A462-B07CB2FB084E}" dt="2024-06-06T10:19:53.528" v="1836" actId="1035"/>
          <ac:cxnSpMkLst>
            <pc:docMk/>
            <pc:sldMk cId="767579717" sldId="1241"/>
            <ac:cxnSpMk id="120" creationId="{8E98F113-A190-C130-7075-6A813DDC0B82}"/>
          </ac:cxnSpMkLst>
        </pc:cxnChg>
        <pc:cxnChg chg="add mod">
          <ac:chgData name="Devraj, Keerthi (DI SW ICS DVT CSF DV FS)" userId="a61e6969-d85e-42d5-913e-c7fe6fb96353" providerId="ADAL" clId="{DDC5853D-AC23-47BD-A462-B07CB2FB084E}" dt="2024-06-06T10:19:53.528" v="1836" actId="1035"/>
          <ac:cxnSpMkLst>
            <pc:docMk/>
            <pc:sldMk cId="767579717" sldId="1241"/>
            <ac:cxnSpMk id="121" creationId="{03307F9B-F693-BA39-4EA3-36E9B4C09971}"/>
          </ac:cxnSpMkLst>
        </pc:cxnChg>
        <pc:cxnChg chg="add mod">
          <ac:chgData name="Devraj, Keerthi (DI SW ICS DVT CSF DV FS)" userId="a61e6969-d85e-42d5-913e-c7fe6fb96353" providerId="ADAL" clId="{DDC5853D-AC23-47BD-A462-B07CB2FB084E}" dt="2024-06-06T10:19:53.528" v="1836" actId="1035"/>
          <ac:cxnSpMkLst>
            <pc:docMk/>
            <pc:sldMk cId="767579717" sldId="1241"/>
            <ac:cxnSpMk id="122" creationId="{69DC8E4A-DCED-5872-BBC0-C5458107B3E7}"/>
          </ac:cxnSpMkLst>
        </pc:cxnChg>
      </pc:sldChg>
      <pc:sldChg chg="addSp delSp modSp add del mod">
        <pc:chgData name="Devraj, Keerthi (DI SW ICS DVT CSF DV FS)" userId="a61e6969-d85e-42d5-913e-c7fe6fb96353" providerId="ADAL" clId="{DDC5853D-AC23-47BD-A462-B07CB2FB084E}" dt="2024-06-06T10:48:01.273" v="2517" actId="47"/>
        <pc:sldMkLst>
          <pc:docMk/>
          <pc:sldMk cId="47020225" sldId="1242"/>
        </pc:sldMkLst>
        <pc:spChg chg="mod">
          <ac:chgData name="Devraj, Keerthi (DI SW ICS DVT CSF DV FS)" userId="a61e6969-d85e-42d5-913e-c7fe6fb96353" providerId="ADAL" clId="{DDC5853D-AC23-47BD-A462-B07CB2FB084E}" dt="2024-06-06T10:22:02.410" v="1884" actId="6549"/>
          <ac:spMkLst>
            <pc:docMk/>
            <pc:sldMk cId="47020225" sldId="1242"/>
            <ac:spMk id="2" creationId="{30A59CE0-18CE-9447-F486-84039784745F}"/>
          </ac:spMkLst>
        </pc:spChg>
        <pc:spChg chg="add mod ord">
          <ac:chgData name="Devraj, Keerthi (DI SW ICS DVT CSF DV FS)" userId="a61e6969-d85e-42d5-913e-c7fe6fb96353" providerId="ADAL" clId="{DDC5853D-AC23-47BD-A462-B07CB2FB084E}" dt="2024-06-06T10:16:02.656" v="1662" actId="167"/>
          <ac:spMkLst>
            <pc:docMk/>
            <pc:sldMk cId="47020225" sldId="1242"/>
            <ac:spMk id="6" creationId="{1C28C5D7-53BF-8051-4E17-F2B6B429B914}"/>
          </ac:spMkLst>
        </pc:spChg>
        <pc:spChg chg="mod">
          <ac:chgData name="Devraj, Keerthi (DI SW ICS DVT CSF DV FS)" userId="a61e6969-d85e-42d5-913e-c7fe6fb96353" providerId="ADAL" clId="{DDC5853D-AC23-47BD-A462-B07CB2FB084E}" dt="2024-06-06T10:47:59.186" v="2516" actId="21"/>
          <ac:spMkLst>
            <pc:docMk/>
            <pc:sldMk cId="47020225" sldId="1242"/>
            <ac:spMk id="7" creationId="{ED750394-80C0-8125-9319-47BEFF1B59EA}"/>
          </ac:spMkLst>
        </pc:spChg>
        <pc:spChg chg="del">
          <ac:chgData name="Devraj, Keerthi (DI SW ICS DVT CSF DV FS)" userId="a61e6969-d85e-42d5-913e-c7fe6fb96353" providerId="ADAL" clId="{DDC5853D-AC23-47BD-A462-B07CB2FB084E}" dt="2024-06-06T10:13:38.651" v="1630" actId="478"/>
          <ac:spMkLst>
            <pc:docMk/>
            <pc:sldMk cId="47020225" sldId="1242"/>
            <ac:spMk id="9" creationId="{35E418DA-ECE1-0C0D-9341-56F1B217AFD4}"/>
          </ac:spMkLst>
        </pc:spChg>
        <pc:spChg chg="del">
          <ac:chgData name="Devraj, Keerthi (DI SW ICS DVT CSF DV FS)" userId="a61e6969-d85e-42d5-913e-c7fe6fb96353" providerId="ADAL" clId="{DDC5853D-AC23-47BD-A462-B07CB2FB084E}" dt="2024-06-06T10:13:38.651" v="1630" actId="478"/>
          <ac:spMkLst>
            <pc:docMk/>
            <pc:sldMk cId="47020225" sldId="1242"/>
            <ac:spMk id="10" creationId="{89A48560-3AFB-132B-2706-A660511A1FB0}"/>
          </ac:spMkLst>
        </pc:spChg>
        <pc:spChg chg="del">
          <ac:chgData name="Devraj, Keerthi (DI SW ICS DVT CSF DV FS)" userId="a61e6969-d85e-42d5-913e-c7fe6fb96353" providerId="ADAL" clId="{DDC5853D-AC23-47BD-A462-B07CB2FB084E}" dt="2024-06-06T10:13:38.651" v="1630" actId="478"/>
          <ac:spMkLst>
            <pc:docMk/>
            <pc:sldMk cId="47020225" sldId="1242"/>
            <ac:spMk id="11" creationId="{97BD29F1-EB58-CA4C-8124-198B280AEAA4}"/>
          </ac:spMkLst>
        </pc:spChg>
        <pc:spChg chg="del">
          <ac:chgData name="Devraj, Keerthi (DI SW ICS DVT CSF DV FS)" userId="a61e6969-d85e-42d5-913e-c7fe6fb96353" providerId="ADAL" clId="{DDC5853D-AC23-47BD-A462-B07CB2FB084E}" dt="2024-06-06T10:13:38.651" v="1630" actId="478"/>
          <ac:spMkLst>
            <pc:docMk/>
            <pc:sldMk cId="47020225" sldId="1242"/>
            <ac:spMk id="12" creationId="{BC2C7C65-4066-53E5-69DD-8C9B815D6F43}"/>
          </ac:spMkLst>
        </pc:spChg>
        <pc:spChg chg="add">
          <ac:chgData name="Devraj, Keerthi (DI SW ICS DVT CSF DV FS)" userId="a61e6969-d85e-42d5-913e-c7fe6fb96353" providerId="ADAL" clId="{DDC5853D-AC23-47BD-A462-B07CB2FB084E}" dt="2024-06-06T10:18:07.939" v="1667"/>
          <ac:spMkLst>
            <pc:docMk/>
            <pc:sldMk cId="47020225" sldId="1242"/>
            <ac:spMk id="25" creationId="{EBCC156A-D55E-1AC8-8E02-2AA5B2ABAE50}"/>
          </ac:spMkLst>
        </pc:spChg>
        <pc:spChg chg="del">
          <ac:chgData name="Devraj, Keerthi (DI SW ICS DVT CSF DV FS)" userId="a61e6969-d85e-42d5-913e-c7fe6fb96353" providerId="ADAL" clId="{DDC5853D-AC23-47BD-A462-B07CB2FB084E}" dt="2024-06-06T10:13:38.651" v="1630" actId="478"/>
          <ac:spMkLst>
            <pc:docMk/>
            <pc:sldMk cId="47020225" sldId="1242"/>
            <ac:spMk id="59" creationId="{501B96B7-3A22-5D4C-D053-3B6761758050}"/>
          </ac:spMkLst>
        </pc:spChg>
        <pc:spChg chg="del">
          <ac:chgData name="Devraj, Keerthi (DI SW ICS DVT CSF DV FS)" userId="a61e6969-d85e-42d5-913e-c7fe6fb96353" providerId="ADAL" clId="{DDC5853D-AC23-47BD-A462-B07CB2FB084E}" dt="2024-06-06T10:13:38.651" v="1630" actId="478"/>
          <ac:spMkLst>
            <pc:docMk/>
            <pc:sldMk cId="47020225" sldId="1242"/>
            <ac:spMk id="76" creationId="{7C3AC2D8-A691-24CB-68C1-B15B8E5CBD30}"/>
          </ac:spMkLst>
        </pc:spChg>
        <pc:spChg chg="del">
          <ac:chgData name="Devraj, Keerthi (DI SW ICS DVT CSF DV FS)" userId="a61e6969-d85e-42d5-913e-c7fe6fb96353" providerId="ADAL" clId="{DDC5853D-AC23-47BD-A462-B07CB2FB084E}" dt="2024-06-06T10:13:38.651" v="1630" actId="478"/>
          <ac:spMkLst>
            <pc:docMk/>
            <pc:sldMk cId="47020225" sldId="1242"/>
            <ac:spMk id="77" creationId="{0A0B37E8-EF98-1FDC-0538-21F7B523B283}"/>
          </ac:spMkLst>
        </pc:spChg>
        <pc:spChg chg="del">
          <ac:chgData name="Devraj, Keerthi (DI SW ICS DVT CSF DV FS)" userId="a61e6969-d85e-42d5-913e-c7fe6fb96353" providerId="ADAL" clId="{DDC5853D-AC23-47BD-A462-B07CB2FB084E}" dt="2024-06-06T10:13:38.651" v="1630" actId="478"/>
          <ac:spMkLst>
            <pc:docMk/>
            <pc:sldMk cId="47020225" sldId="1242"/>
            <ac:spMk id="81" creationId="{0ABF28FA-0B7B-E607-07A0-86E0CE2B48D3}"/>
          </ac:spMkLst>
        </pc:spChg>
        <pc:spChg chg="del">
          <ac:chgData name="Devraj, Keerthi (DI SW ICS DVT CSF DV FS)" userId="a61e6969-d85e-42d5-913e-c7fe6fb96353" providerId="ADAL" clId="{DDC5853D-AC23-47BD-A462-B07CB2FB084E}" dt="2024-06-06T10:13:38.651" v="1630" actId="478"/>
          <ac:spMkLst>
            <pc:docMk/>
            <pc:sldMk cId="47020225" sldId="1242"/>
            <ac:spMk id="82" creationId="{567BC4BA-5EB6-8FA9-2154-AF00EF57B7C7}"/>
          </ac:spMkLst>
        </pc:spChg>
        <pc:spChg chg="del">
          <ac:chgData name="Devraj, Keerthi (DI SW ICS DVT CSF DV FS)" userId="a61e6969-d85e-42d5-913e-c7fe6fb96353" providerId="ADAL" clId="{DDC5853D-AC23-47BD-A462-B07CB2FB084E}" dt="2024-06-06T10:13:38.651" v="1630" actId="478"/>
          <ac:spMkLst>
            <pc:docMk/>
            <pc:sldMk cId="47020225" sldId="1242"/>
            <ac:spMk id="98" creationId="{F59313A9-8E73-CFDF-553E-7AD1BF7D2991}"/>
          </ac:spMkLst>
        </pc:spChg>
        <pc:spChg chg="del">
          <ac:chgData name="Devraj, Keerthi (DI SW ICS DVT CSF DV FS)" userId="a61e6969-d85e-42d5-913e-c7fe6fb96353" providerId="ADAL" clId="{DDC5853D-AC23-47BD-A462-B07CB2FB084E}" dt="2024-06-06T10:13:38.651" v="1630" actId="478"/>
          <ac:spMkLst>
            <pc:docMk/>
            <pc:sldMk cId="47020225" sldId="1242"/>
            <ac:spMk id="115" creationId="{E37159EE-A33F-3B8F-61B2-DBC0A80E5D02}"/>
          </ac:spMkLst>
        </pc:spChg>
        <pc:spChg chg="del">
          <ac:chgData name="Devraj, Keerthi (DI SW ICS DVT CSF DV FS)" userId="a61e6969-d85e-42d5-913e-c7fe6fb96353" providerId="ADAL" clId="{DDC5853D-AC23-47BD-A462-B07CB2FB084E}" dt="2024-06-06T10:13:38.651" v="1630" actId="478"/>
          <ac:spMkLst>
            <pc:docMk/>
            <pc:sldMk cId="47020225" sldId="1242"/>
            <ac:spMk id="116" creationId="{A417E2F4-3CCA-E303-C970-D06938E62996}"/>
          </ac:spMkLst>
        </pc:spChg>
        <pc:spChg chg="del">
          <ac:chgData name="Devraj, Keerthi (DI SW ICS DVT CSF DV FS)" userId="a61e6969-d85e-42d5-913e-c7fe6fb96353" providerId="ADAL" clId="{DDC5853D-AC23-47BD-A462-B07CB2FB084E}" dt="2024-06-06T10:13:38.651" v="1630" actId="478"/>
          <ac:spMkLst>
            <pc:docMk/>
            <pc:sldMk cId="47020225" sldId="1242"/>
            <ac:spMk id="117" creationId="{04E8E21D-4B03-3602-90A2-4B6CF432535C}"/>
          </ac:spMkLst>
        </pc:spChg>
        <pc:spChg chg="del">
          <ac:chgData name="Devraj, Keerthi (DI SW ICS DVT CSF DV FS)" userId="a61e6969-d85e-42d5-913e-c7fe6fb96353" providerId="ADAL" clId="{DDC5853D-AC23-47BD-A462-B07CB2FB084E}" dt="2024-06-06T10:13:38.651" v="1630" actId="478"/>
          <ac:spMkLst>
            <pc:docMk/>
            <pc:sldMk cId="47020225" sldId="1242"/>
            <ac:spMk id="118" creationId="{92AA815B-946E-FE0E-DD50-64060CABFE7D}"/>
          </ac:spMkLst>
        </pc:spChg>
        <pc:grpChg chg="del">
          <ac:chgData name="Devraj, Keerthi (DI SW ICS DVT CSF DV FS)" userId="a61e6969-d85e-42d5-913e-c7fe6fb96353" providerId="ADAL" clId="{DDC5853D-AC23-47BD-A462-B07CB2FB084E}" dt="2024-06-06T10:13:38.651" v="1630" actId="478"/>
          <ac:grpSpMkLst>
            <pc:docMk/>
            <pc:sldMk cId="47020225" sldId="1242"/>
            <ac:grpSpMk id="13" creationId="{D89C1114-62FA-8C32-FAD7-DA3451BC5940}"/>
          </ac:grpSpMkLst>
        </pc:grpChg>
        <pc:grpChg chg="del">
          <ac:chgData name="Devraj, Keerthi (DI SW ICS DVT CSF DV FS)" userId="a61e6969-d85e-42d5-913e-c7fe6fb96353" providerId="ADAL" clId="{DDC5853D-AC23-47BD-A462-B07CB2FB084E}" dt="2024-06-06T10:13:38.651" v="1630" actId="478"/>
          <ac:grpSpMkLst>
            <pc:docMk/>
            <pc:sldMk cId="47020225" sldId="1242"/>
            <ac:grpSpMk id="20" creationId="{3ACB9CE1-5B41-43C2-F2EB-AF3055CFE6DC}"/>
          </ac:grpSpMkLst>
        </pc:grpChg>
        <pc:grpChg chg="del">
          <ac:chgData name="Devraj, Keerthi (DI SW ICS DVT CSF DV FS)" userId="a61e6969-d85e-42d5-913e-c7fe6fb96353" providerId="ADAL" clId="{DDC5853D-AC23-47BD-A462-B07CB2FB084E}" dt="2024-06-06T10:13:38.651" v="1630" actId="478"/>
          <ac:grpSpMkLst>
            <pc:docMk/>
            <pc:sldMk cId="47020225" sldId="1242"/>
            <ac:grpSpMk id="28" creationId="{D36F95B1-2C55-16C4-DD6F-33CBAED8FF51}"/>
          </ac:grpSpMkLst>
        </pc:grpChg>
        <pc:grpChg chg="del">
          <ac:chgData name="Devraj, Keerthi (DI SW ICS DVT CSF DV FS)" userId="a61e6969-d85e-42d5-913e-c7fe6fb96353" providerId="ADAL" clId="{DDC5853D-AC23-47BD-A462-B07CB2FB084E}" dt="2024-06-06T10:13:38.651" v="1630" actId="478"/>
          <ac:grpSpMkLst>
            <pc:docMk/>
            <pc:sldMk cId="47020225" sldId="1242"/>
            <ac:grpSpMk id="44" creationId="{E9CB2DEF-07CC-06CB-47A3-FAB69F97A57E}"/>
          </ac:grpSpMkLst>
        </pc:grpChg>
        <pc:grpChg chg="del">
          <ac:chgData name="Devraj, Keerthi (DI SW ICS DVT CSF DV FS)" userId="a61e6969-d85e-42d5-913e-c7fe6fb96353" providerId="ADAL" clId="{DDC5853D-AC23-47BD-A462-B07CB2FB084E}" dt="2024-06-06T10:13:38.651" v="1630" actId="478"/>
          <ac:grpSpMkLst>
            <pc:docMk/>
            <pc:sldMk cId="47020225" sldId="1242"/>
            <ac:grpSpMk id="60" creationId="{D67E5754-0A0D-1C82-1F44-083928D51E78}"/>
          </ac:grpSpMkLst>
        </pc:grpChg>
        <pc:grpChg chg="del">
          <ac:chgData name="Devraj, Keerthi (DI SW ICS DVT CSF DV FS)" userId="a61e6969-d85e-42d5-913e-c7fe6fb96353" providerId="ADAL" clId="{DDC5853D-AC23-47BD-A462-B07CB2FB084E}" dt="2024-06-06T10:13:38.651" v="1630" actId="478"/>
          <ac:grpSpMkLst>
            <pc:docMk/>
            <pc:sldMk cId="47020225" sldId="1242"/>
            <ac:grpSpMk id="83" creationId="{6D920D12-CED1-DADB-A15F-35802570A53F}"/>
          </ac:grpSpMkLst>
        </pc:grpChg>
        <pc:grpChg chg="del">
          <ac:chgData name="Devraj, Keerthi (DI SW ICS DVT CSF DV FS)" userId="a61e6969-d85e-42d5-913e-c7fe6fb96353" providerId="ADAL" clId="{DDC5853D-AC23-47BD-A462-B07CB2FB084E}" dt="2024-06-06T10:13:38.651" v="1630" actId="478"/>
          <ac:grpSpMkLst>
            <pc:docMk/>
            <pc:sldMk cId="47020225" sldId="1242"/>
            <ac:grpSpMk id="99" creationId="{621A2F7E-EF83-275A-06A7-A6C97551400F}"/>
          </ac:grpSpMkLst>
        </pc:grpChg>
        <pc:picChg chg="add mod">
          <ac:chgData name="Devraj, Keerthi (DI SW ICS DVT CSF DV FS)" userId="a61e6969-d85e-42d5-913e-c7fe6fb96353" providerId="ADAL" clId="{DDC5853D-AC23-47BD-A462-B07CB2FB084E}" dt="2024-06-06T10:14:54.477" v="1645"/>
          <ac:picMkLst>
            <pc:docMk/>
            <pc:sldMk cId="47020225" sldId="1242"/>
            <ac:picMk id="4" creationId="{10661146-0797-F038-9F56-5C8B21CA0C57}"/>
          </ac:picMkLst>
        </pc:picChg>
        <pc:picChg chg="add mod modCrop">
          <ac:chgData name="Devraj, Keerthi (DI SW ICS DVT CSF DV FS)" userId="a61e6969-d85e-42d5-913e-c7fe6fb96353" providerId="ADAL" clId="{DDC5853D-AC23-47BD-A462-B07CB2FB084E}" dt="2024-06-06T10:15:46.039" v="1658" actId="1076"/>
          <ac:picMkLst>
            <pc:docMk/>
            <pc:sldMk cId="47020225" sldId="1242"/>
            <ac:picMk id="5" creationId="{10661146-0797-F038-9F56-5C8B21CA0C57}"/>
          </ac:picMkLst>
        </pc:picChg>
        <pc:picChg chg="del mod modCrop">
          <ac:chgData name="Devraj, Keerthi (DI SW ICS DVT CSF DV FS)" userId="a61e6969-d85e-42d5-913e-c7fe6fb96353" providerId="ADAL" clId="{DDC5853D-AC23-47BD-A462-B07CB2FB084E}" dt="2024-06-06T10:14:02.592" v="1635" actId="21"/>
          <ac:picMkLst>
            <pc:docMk/>
            <pc:sldMk cId="47020225" sldId="1242"/>
            <ac:picMk id="8" creationId="{0B0CF26C-EB3B-F17D-A832-30E039D3C706}"/>
          </ac:picMkLst>
        </pc:picChg>
        <pc:cxnChg chg="del">
          <ac:chgData name="Devraj, Keerthi (DI SW ICS DVT CSF DV FS)" userId="a61e6969-d85e-42d5-913e-c7fe6fb96353" providerId="ADAL" clId="{DDC5853D-AC23-47BD-A462-B07CB2FB084E}" dt="2024-06-06T10:13:38.651" v="1630" actId="478"/>
          <ac:cxnSpMkLst>
            <pc:docMk/>
            <pc:sldMk cId="47020225" sldId="1242"/>
            <ac:cxnSpMk id="75" creationId="{05010A82-6AB3-3FB2-5FBA-3C373B448E00}"/>
          </ac:cxnSpMkLst>
        </pc:cxnChg>
        <pc:cxnChg chg="del mod">
          <ac:chgData name="Devraj, Keerthi (DI SW ICS DVT CSF DV FS)" userId="a61e6969-d85e-42d5-913e-c7fe6fb96353" providerId="ADAL" clId="{DDC5853D-AC23-47BD-A462-B07CB2FB084E}" dt="2024-06-06T10:13:38.651" v="1630" actId="478"/>
          <ac:cxnSpMkLst>
            <pc:docMk/>
            <pc:sldMk cId="47020225" sldId="1242"/>
            <ac:cxnSpMk id="78" creationId="{AF0DA6BA-D7B3-4E40-AD7B-D1110DA6DFDF}"/>
          </ac:cxnSpMkLst>
        </pc:cxnChg>
        <pc:cxnChg chg="del mod">
          <ac:chgData name="Devraj, Keerthi (DI SW ICS DVT CSF DV FS)" userId="a61e6969-d85e-42d5-913e-c7fe6fb96353" providerId="ADAL" clId="{DDC5853D-AC23-47BD-A462-B07CB2FB084E}" dt="2024-06-06T10:13:38.651" v="1630" actId="478"/>
          <ac:cxnSpMkLst>
            <pc:docMk/>
            <pc:sldMk cId="47020225" sldId="1242"/>
            <ac:cxnSpMk id="79" creationId="{A8A25E52-3B2E-128B-2FE8-6B0BD1A2588C}"/>
          </ac:cxnSpMkLst>
        </pc:cxnChg>
        <pc:cxnChg chg="del mod">
          <ac:chgData name="Devraj, Keerthi (DI SW ICS DVT CSF DV FS)" userId="a61e6969-d85e-42d5-913e-c7fe6fb96353" providerId="ADAL" clId="{DDC5853D-AC23-47BD-A462-B07CB2FB084E}" dt="2024-06-06T10:13:38.651" v="1630" actId="478"/>
          <ac:cxnSpMkLst>
            <pc:docMk/>
            <pc:sldMk cId="47020225" sldId="1242"/>
            <ac:cxnSpMk id="80" creationId="{036CFED2-CAF6-4EE5-ED3A-F6E97E614849}"/>
          </ac:cxnSpMkLst>
        </pc:cxnChg>
        <pc:cxnChg chg="del mod">
          <ac:chgData name="Devraj, Keerthi (DI SW ICS DVT CSF DV FS)" userId="a61e6969-d85e-42d5-913e-c7fe6fb96353" providerId="ADAL" clId="{DDC5853D-AC23-47BD-A462-B07CB2FB084E}" dt="2024-06-06T10:13:38.651" v="1630" actId="478"/>
          <ac:cxnSpMkLst>
            <pc:docMk/>
            <pc:sldMk cId="47020225" sldId="1242"/>
            <ac:cxnSpMk id="114" creationId="{19B756E1-8EB2-D7A4-D9A5-E878273915CB}"/>
          </ac:cxnSpMkLst>
        </pc:cxnChg>
        <pc:cxnChg chg="del mod">
          <ac:chgData name="Devraj, Keerthi (DI SW ICS DVT CSF DV FS)" userId="a61e6969-d85e-42d5-913e-c7fe6fb96353" providerId="ADAL" clId="{DDC5853D-AC23-47BD-A462-B07CB2FB084E}" dt="2024-06-06T10:13:38.651" v="1630" actId="478"/>
          <ac:cxnSpMkLst>
            <pc:docMk/>
            <pc:sldMk cId="47020225" sldId="1242"/>
            <ac:cxnSpMk id="119" creationId="{857B0AA5-D897-A3F1-ECD2-D8DD42015FB8}"/>
          </ac:cxnSpMkLst>
        </pc:cxnChg>
        <pc:cxnChg chg="del mod">
          <ac:chgData name="Devraj, Keerthi (DI SW ICS DVT CSF DV FS)" userId="a61e6969-d85e-42d5-913e-c7fe6fb96353" providerId="ADAL" clId="{DDC5853D-AC23-47BD-A462-B07CB2FB084E}" dt="2024-06-06T10:13:38.651" v="1630" actId="478"/>
          <ac:cxnSpMkLst>
            <pc:docMk/>
            <pc:sldMk cId="47020225" sldId="1242"/>
            <ac:cxnSpMk id="120" creationId="{8E98F113-A190-C130-7075-6A813DDC0B82}"/>
          </ac:cxnSpMkLst>
        </pc:cxnChg>
        <pc:cxnChg chg="del mod">
          <ac:chgData name="Devraj, Keerthi (DI SW ICS DVT CSF DV FS)" userId="a61e6969-d85e-42d5-913e-c7fe6fb96353" providerId="ADAL" clId="{DDC5853D-AC23-47BD-A462-B07CB2FB084E}" dt="2024-06-06T10:13:38.651" v="1630" actId="478"/>
          <ac:cxnSpMkLst>
            <pc:docMk/>
            <pc:sldMk cId="47020225" sldId="1242"/>
            <ac:cxnSpMk id="121" creationId="{03307F9B-F693-BA39-4EA3-36E9B4C09971}"/>
          </ac:cxnSpMkLst>
        </pc:cxnChg>
        <pc:cxnChg chg="del mod">
          <ac:chgData name="Devraj, Keerthi (DI SW ICS DVT CSF DV FS)" userId="a61e6969-d85e-42d5-913e-c7fe6fb96353" providerId="ADAL" clId="{DDC5853D-AC23-47BD-A462-B07CB2FB084E}" dt="2024-06-06T10:13:38.651" v="1630" actId="478"/>
          <ac:cxnSpMkLst>
            <pc:docMk/>
            <pc:sldMk cId="47020225" sldId="1242"/>
            <ac:cxnSpMk id="122" creationId="{69DC8E4A-DCED-5872-BBC0-C5458107B3E7}"/>
          </ac:cxnSpMkLst>
        </pc:cxnChg>
      </pc:sldChg>
      <pc:sldChg chg="addSp delSp modSp add mod modNotesTx">
        <pc:chgData name="Devraj, Keerthi (DI SW ICS DVT CSF DV FS)" userId="a61e6969-d85e-42d5-913e-c7fe6fb96353" providerId="ADAL" clId="{DDC5853D-AC23-47BD-A462-B07CB2FB084E}" dt="2024-06-07T20:59:24.494" v="6243" actId="6549"/>
        <pc:sldMkLst>
          <pc:docMk/>
          <pc:sldMk cId="14907307" sldId="1243"/>
        </pc:sldMkLst>
        <pc:spChg chg="mod">
          <ac:chgData name="Devraj, Keerthi (DI SW ICS DVT CSF DV FS)" userId="a61e6969-d85e-42d5-913e-c7fe6fb96353" providerId="ADAL" clId="{DDC5853D-AC23-47BD-A462-B07CB2FB084E}" dt="2024-06-06T10:23:40.747" v="1938" actId="6549"/>
          <ac:spMkLst>
            <pc:docMk/>
            <pc:sldMk cId="14907307" sldId="1243"/>
            <ac:spMk id="2" creationId="{30A59CE0-18CE-9447-F486-84039784745F}"/>
          </ac:spMkLst>
        </pc:spChg>
        <pc:spChg chg="del">
          <ac:chgData name="Devraj, Keerthi (DI SW ICS DVT CSF DV FS)" userId="a61e6969-d85e-42d5-913e-c7fe6fb96353" providerId="ADAL" clId="{DDC5853D-AC23-47BD-A462-B07CB2FB084E}" dt="2024-06-06T10:23:55.659" v="1941" actId="478"/>
          <ac:spMkLst>
            <pc:docMk/>
            <pc:sldMk cId="14907307" sldId="1243"/>
            <ac:spMk id="6" creationId="{1C28C5D7-53BF-8051-4E17-F2B6B429B914}"/>
          </ac:spMkLst>
        </pc:spChg>
        <pc:spChg chg="mod">
          <ac:chgData name="Devraj, Keerthi (DI SW ICS DVT CSF DV FS)" userId="a61e6969-d85e-42d5-913e-c7fe6fb96353" providerId="ADAL" clId="{DDC5853D-AC23-47BD-A462-B07CB2FB084E}" dt="2024-06-06T10:57:05.276" v="3191" actId="20577"/>
          <ac:spMkLst>
            <pc:docMk/>
            <pc:sldMk cId="14907307" sldId="1243"/>
            <ac:spMk id="7" creationId="{ED750394-80C0-8125-9319-47BEFF1B59EA}"/>
          </ac:spMkLst>
        </pc:spChg>
        <pc:spChg chg="add del mod">
          <ac:chgData name="Devraj, Keerthi (DI SW ICS DVT CSF DV FS)" userId="a61e6969-d85e-42d5-913e-c7fe6fb96353" providerId="ADAL" clId="{DDC5853D-AC23-47BD-A462-B07CB2FB084E}" dt="2024-06-06T10:25:27.213" v="1946" actId="478"/>
          <ac:spMkLst>
            <pc:docMk/>
            <pc:sldMk cId="14907307" sldId="1243"/>
            <ac:spMk id="9" creationId="{CD0A339E-58F2-B3B6-F854-A03139828B8E}"/>
          </ac:spMkLst>
        </pc:spChg>
        <pc:spChg chg="add mod">
          <ac:chgData name="Devraj, Keerthi (DI SW ICS DVT CSF DV FS)" userId="a61e6969-d85e-42d5-913e-c7fe6fb96353" providerId="ADAL" clId="{DDC5853D-AC23-47BD-A462-B07CB2FB084E}" dt="2024-06-06T10:30:47.702" v="2039" actId="14100"/>
          <ac:spMkLst>
            <pc:docMk/>
            <pc:sldMk cId="14907307" sldId="1243"/>
            <ac:spMk id="10" creationId="{FC14528A-C9AA-4657-3C88-2036051DCB26}"/>
          </ac:spMkLst>
        </pc:spChg>
        <pc:spChg chg="add del mod">
          <ac:chgData name="Devraj, Keerthi (DI SW ICS DVT CSF DV FS)" userId="a61e6969-d85e-42d5-913e-c7fe6fb96353" providerId="ADAL" clId="{DDC5853D-AC23-47BD-A462-B07CB2FB084E}" dt="2024-06-06T10:28:13.892" v="1959" actId="478"/>
          <ac:spMkLst>
            <pc:docMk/>
            <pc:sldMk cId="14907307" sldId="1243"/>
            <ac:spMk id="11" creationId="{601A922A-A5CC-80D0-A228-3A1365C97415}"/>
          </ac:spMkLst>
        </pc:spChg>
        <pc:spChg chg="add del mod">
          <ac:chgData name="Devraj, Keerthi (DI SW ICS DVT CSF DV FS)" userId="a61e6969-d85e-42d5-913e-c7fe6fb96353" providerId="ADAL" clId="{DDC5853D-AC23-47BD-A462-B07CB2FB084E}" dt="2024-06-06T11:14:58.456" v="3463" actId="478"/>
          <ac:spMkLst>
            <pc:docMk/>
            <pc:sldMk cId="14907307" sldId="1243"/>
            <ac:spMk id="13" creationId="{5CC53806-E154-5270-095D-E7C24597B597}"/>
          </ac:spMkLst>
        </pc:spChg>
        <pc:spChg chg="add">
          <ac:chgData name="Devraj, Keerthi (DI SW ICS DVT CSF DV FS)" userId="a61e6969-d85e-42d5-913e-c7fe6fb96353" providerId="ADAL" clId="{DDC5853D-AC23-47BD-A462-B07CB2FB084E}" dt="2024-06-07T20:44:40.974" v="6222"/>
          <ac:spMkLst>
            <pc:docMk/>
            <pc:sldMk cId="14907307" sldId="1243"/>
            <ac:spMk id="14" creationId="{B67579B9-909A-EDD5-45ED-F66C76184D20}"/>
          </ac:spMkLst>
        </pc:spChg>
        <pc:graphicFrameChg chg="add del mod">
          <ac:chgData name="Devraj, Keerthi (DI SW ICS DVT CSF DV FS)" userId="a61e6969-d85e-42d5-913e-c7fe6fb96353" providerId="ADAL" clId="{DDC5853D-AC23-47BD-A462-B07CB2FB084E}" dt="2024-06-06T10:30:19.526" v="2027" actId="478"/>
          <ac:graphicFrameMkLst>
            <pc:docMk/>
            <pc:sldMk cId="14907307" sldId="1243"/>
            <ac:graphicFrameMk id="12" creationId="{E08450F3-4998-A540-ED6C-D3D7915E1304}"/>
          </ac:graphicFrameMkLst>
        </pc:graphicFrameChg>
        <pc:picChg chg="del">
          <ac:chgData name="Devraj, Keerthi (DI SW ICS DVT CSF DV FS)" userId="a61e6969-d85e-42d5-913e-c7fe6fb96353" providerId="ADAL" clId="{DDC5853D-AC23-47BD-A462-B07CB2FB084E}" dt="2024-06-06T10:23:54.712" v="1940" actId="478"/>
          <ac:picMkLst>
            <pc:docMk/>
            <pc:sldMk cId="14907307" sldId="1243"/>
            <ac:picMk id="4" creationId="{10661146-0797-F038-9F56-5C8B21CA0C57}"/>
          </ac:picMkLst>
        </pc:picChg>
        <pc:picChg chg="del">
          <ac:chgData name="Devraj, Keerthi (DI SW ICS DVT CSF DV FS)" userId="a61e6969-d85e-42d5-913e-c7fe6fb96353" providerId="ADAL" clId="{DDC5853D-AC23-47BD-A462-B07CB2FB084E}" dt="2024-06-06T10:23:53.802" v="1939" actId="478"/>
          <ac:picMkLst>
            <pc:docMk/>
            <pc:sldMk cId="14907307" sldId="1243"/>
            <ac:picMk id="5" creationId="{10661146-0797-F038-9F56-5C8B21CA0C57}"/>
          </ac:picMkLst>
        </pc:picChg>
        <pc:picChg chg="add mod">
          <ac:chgData name="Devraj, Keerthi (DI SW ICS DVT CSF DV FS)" userId="a61e6969-d85e-42d5-913e-c7fe6fb96353" providerId="ADAL" clId="{DDC5853D-AC23-47BD-A462-B07CB2FB084E}" dt="2024-06-06T10:30:52.847" v="2040" actId="1076"/>
          <ac:picMkLst>
            <pc:docMk/>
            <pc:sldMk cId="14907307" sldId="1243"/>
            <ac:picMk id="8" creationId="{0DFD562B-FED1-D5FE-7731-870BAEF75517}"/>
          </ac:picMkLst>
        </pc:picChg>
      </pc:sldChg>
      <pc:sldChg chg="delSp modSp add del mod">
        <pc:chgData name="Devraj, Keerthi (DI SW ICS DVT CSF DV FS)" userId="a61e6969-d85e-42d5-913e-c7fe6fb96353" providerId="ADAL" clId="{DDC5853D-AC23-47BD-A462-B07CB2FB084E}" dt="2024-06-06T10:23:16.292" v="1912" actId="47"/>
        <pc:sldMkLst>
          <pc:docMk/>
          <pc:sldMk cId="3491619918" sldId="1243"/>
        </pc:sldMkLst>
        <pc:picChg chg="del mod modCrop">
          <ac:chgData name="Devraj, Keerthi (DI SW ICS DVT CSF DV FS)" userId="a61e6969-d85e-42d5-913e-c7fe6fb96353" providerId="ADAL" clId="{DDC5853D-AC23-47BD-A462-B07CB2FB084E}" dt="2024-06-06T10:15:24.561" v="1651" actId="21"/>
          <ac:picMkLst>
            <pc:docMk/>
            <pc:sldMk cId="3491619918" sldId="1243"/>
            <ac:picMk id="4" creationId="{10661146-0797-F038-9F56-5C8B21CA0C57}"/>
          </ac:picMkLst>
        </pc:picChg>
      </pc:sldChg>
      <pc:sldChg chg="addSp delSp modSp add mod">
        <pc:chgData name="Devraj, Keerthi (DI SW ICS DVT CSF DV FS)" userId="a61e6969-d85e-42d5-913e-c7fe6fb96353" providerId="ADAL" clId="{DDC5853D-AC23-47BD-A462-B07CB2FB084E}" dt="2024-06-07T20:43:27.530" v="6221" actId="1076"/>
        <pc:sldMkLst>
          <pc:docMk/>
          <pc:sldMk cId="2298670748" sldId="1244"/>
        </pc:sldMkLst>
        <pc:spChg chg="mod">
          <ac:chgData name="Devraj, Keerthi (DI SW ICS DVT CSF DV FS)" userId="a61e6969-d85e-42d5-913e-c7fe6fb96353" providerId="ADAL" clId="{DDC5853D-AC23-47BD-A462-B07CB2FB084E}" dt="2024-06-07T09:37:52.625" v="5706" actId="164"/>
          <ac:spMkLst>
            <pc:docMk/>
            <pc:sldMk cId="2298670748" sldId="1244"/>
            <ac:spMk id="6" creationId="{1C28C5D7-53BF-8051-4E17-F2B6B429B914}"/>
          </ac:spMkLst>
        </pc:spChg>
        <pc:spChg chg="del">
          <ac:chgData name="Devraj, Keerthi (DI SW ICS DVT CSF DV FS)" userId="a61e6969-d85e-42d5-913e-c7fe6fb96353" providerId="ADAL" clId="{DDC5853D-AC23-47BD-A462-B07CB2FB084E}" dt="2024-06-06T10:36:57.219" v="2146" actId="478"/>
          <ac:spMkLst>
            <pc:docMk/>
            <pc:sldMk cId="2298670748" sldId="1244"/>
            <ac:spMk id="7" creationId="{ED750394-80C0-8125-9319-47BEFF1B59EA}"/>
          </ac:spMkLst>
        </pc:spChg>
        <pc:spChg chg="add mod">
          <ac:chgData name="Devraj, Keerthi (DI SW ICS DVT CSF DV FS)" userId="a61e6969-d85e-42d5-913e-c7fe6fb96353" providerId="ADAL" clId="{DDC5853D-AC23-47BD-A462-B07CB2FB084E}" dt="2024-06-06T10:48:15.531" v="2520" actId="164"/>
          <ac:spMkLst>
            <pc:docMk/>
            <pc:sldMk cId="2298670748" sldId="1244"/>
            <ac:spMk id="8" creationId="{CABC8283-76C5-F38A-B0FD-661BECBA7A2B}"/>
          </ac:spMkLst>
        </pc:spChg>
        <pc:spChg chg="add mod">
          <ac:chgData name="Devraj, Keerthi (DI SW ICS DVT CSF DV FS)" userId="a61e6969-d85e-42d5-913e-c7fe6fb96353" providerId="ADAL" clId="{DDC5853D-AC23-47BD-A462-B07CB2FB084E}" dt="2024-06-06T10:48:15.531" v="2520" actId="164"/>
          <ac:spMkLst>
            <pc:docMk/>
            <pc:sldMk cId="2298670748" sldId="1244"/>
            <ac:spMk id="9" creationId="{6C8F4712-1FCF-3479-D45C-E790F1E5926E}"/>
          </ac:spMkLst>
        </pc:spChg>
        <pc:spChg chg="add del mod">
          <ac:chgData name="Devraj, Keerthi (DI SW ICS DVT CSF DV FS)" userId="a61e6969-d85e-42d5-913e-c7fe6fb96353" providerId="ADAL" clId="{DDC5853D-AC23-47BD-A462-B07CB2FB084E}" dt="2024-06-06T10:37:23.060" v="2151" actId="478"/>
          <ac:spMkLst>
            <pc:docMk/>
            <pc:sldMk cId="2298670748" sldId="1244"/>
            <ac:spMk id="10" creationId="{5320918D-E361-0DEC-88F5-9587C8DC29CA}"/>
          </ac:spMkLst>
        </pc:spChg>
        <pc:spChg chg="add mod">
          <ac:chgData name="Devraj, Keerthi (DI SW ICS DVT CSF DV FS)" userId="a61e6969-d85e-42d5-913e-c7fe6fb96353" providerId="ADAL" clId="{DDC5853D-AC23-47BD-A462-B07CB2FB084E}" dt="2024-06-06T10:48:15.531" v="2520" actId="164"/>
          <ac:spMkLst>
            <pc:docMk/>
            <pc:sldMk cId="2298670748" sldId="1244"/>
            <ac:spMk id="12" creationId="{65C212D9-B723-E981-1A29-3FFFC4B01738}"/>
          </ac:spMkLst>
        </pc:spChg>
        <pc:spChg chg="add mod">
          <ac:chgData name="Devraj, Keerthi (DI SW ICS DVT CSF DV FS)" userId="a61e6969-d85e-42d5-913e-c7fe6fb96353" providerId="ADAL" clId="{DDC5853D-AC23-47BD-A462-B07CB2FB084E}" dt="2024-06-06T10:38:09.741" v="2167"/>
          <ac:spMkLst>
            <pc:docMk/>
            <pc:sldMk cId="2298670748" sldId="1244"/>
            <ac:spMk id="13" creationId="{A6B5B1B6-C4C6-015F-5D81-4AC38F6E8809}"/>
          </ac:spMkLst>
        </pc:spChg>
        <pc:spChg chg="add mod">
          <ac:chgData name="Devraj, Keerthi (DI SW ICS DVT CSF DV FS)" userId="a61e6969-d85e-42d5-913e-c7fe6fb96353" providerId="ADAL" clId="{DDC5853D-AC23-47BD-A462-B07CB2FB084E}" dt="2024-06-06T10:38:09.741" v="2167"/>
          <ac:spMkLst>
            <pc:docMk/>
            <pc:sldMk cId="2298670748" sldId="1244"/>
            <ac:spMk id="14" creationId="{E09C367E-3CBF-7891-3560-8CCE77EB2B7F}"/>
          </ac:spMkLst>
        </pc:spChg>
        <pc:spChg chg="add del mod">
          <ac:chgData name="Devraj, Keerthi (DI SW ICS DVT CSF DV FS)" userId="a61e6969-d85e-42d5-913e-c7fe6fb96353" providerId="ADAL" clId="{DDC5853D-AC23-47BD-A462-B07CB2FB084E}" dt="2024-06-06T10:39:15.205" v="2188" actId="478"/>
          <ac:spMkLst>
            <pc:docMk/>
            <pc:sldMk cId="2298670748" sldId="1244"/>
            <ac:spMk id="17" creationId="{C92F8D84-EC61-8C37-6375-931FFF592667}"/>
          </ac:spMkLst>
        </pc:spChg>
        <pc:spChg chg="add del mod">
          <ac:chgData name="Devraj, Keerthi (DI SW ICS DVT CSF DV FS)" userId="a61e6969-d85e-42d5-913e-c7fe6fb96353" providerId="ADAL" clId="{DDC5853D-AC23-47BD-A462-B07CB2FB084E}" dt="2024-06-06T10:39:52.488" v="2199" actId="478"/>
          <ac:spMkLst>
            <pc:docMk/>
            <pc:sldMk cId="2298670748" sldId="1244"/>
            <ac:spMk id="18" creationId="{A6B5B1B6-C4C6-015F-5D81-4AC38F6E8809}"/>
          </ac:spMkLst>
        </pc:spChg>
        <pc:spChg chg="add del mod">
          <ac:chgData name="Devraj, Keerthi (DI SW ICS DVT CSF DV FS)" userId="a61e6969-d85e-42d5-913e-c7fe6fb96353" providerId="ADAL" clId="{DDC5853D-AC23-47BD-A462-B07CB2FB084E}" dt="2024-06-06T10:38:31.142" v="2172" actId="478"/>
          <ac:spMkLst>
            <pc:docMk/>
            <pc:sldMk cId="2298670748" sldId="1244"/>
            <ac:spMk id="19" creationId="{E09C367E-3CBF-7891-3560-8CCE77EB2B7F}"/>
          </ac:spMkLst>
        </pc:spChg>
        <pc:spChg chg="add mod ord">
          <ac:chgData name="Devraj, Keerthi (DI SW ICS DVT CSF DV FS)" userId="a61e6969-d85e-42d5-913e-c7fe6fb96353" providerId="ADAL" clId="{DDC5853D-AC23-47BD-A462-B07CB2FB084E}" dt="2024-06-06T10:39:33.352" v="2193" actId="1076"/>
          <ac:spMkLst>
            <pc:docMk/>
            <pc:sldMk cId="2298670748" sldId="1244"/>
            <ac:spMk id="21" creationId="{F6491965-B00D-BD0E-711C-8E3889AA5A6B}"/>
          </ac:spMkLst>
        </pc:spChg>
        <pc:spChg chg="add mod">
          <ac:chgData name="Devraj, Keerthi (DI SW ICS DVT CSF DV FS)" userId="a61e6969-d85e-42d5-913e-c7fe6fb96353" providerId="ADAL" clId="{DDC5853D-AC23-47BD-A462-B07CB2FB084E}" dt="2024-06-06T10:39:26.578" v="2191" actId="164"/>
          <ac:spMkLst>
            <pc:docMk/>
            <pc:sldMk cId="2298670748" sldId="1244"/>
            <ac:spMk id="23" creationId="{8B789713-7882-8EF8-88AC-015D168840F9}"/>
          </ac:spMkLst>
        </pc:spChg>
        <pc:spChg chg="add mod">
          <ac:chgData name="Devraj, Keerthi (DI SW ICS DVT CSF DV FS)" userId="a61e6969-d85e-42d5-913e-c7fe6fb96353" providerId="ADAL" clId="{DDC5853D-AC23-47BD-A462-B07CB2FB084E}" dt="2024-06-06T10:48:15.531" v="2520" actId="164"/>
          <ac:spMkLst>
            <pc:docMk/>
            <pc:sldMk cId="2298670748" sldId="1244"/>
            <ac:spMk id="24" creationId="{43ADBD69-D283-F591-3C40-875EB4208B90}"/>
          </ac:spMkLst>
        </pc:spChg>
        <pc:spChg chg="add mod">
          <ac:chgData name="Devraj, Keerthi (DI SW ICS DVT CSF DV FS)" userId="a61e6969-d85e-42d5-913e-c7fe6fb96353" providerId="ADAL" clId="{DDC5853D-AC23-47BD-A462-B07CB2FB084E}" dt="2024-06-06T10:48:15.531" v="2520" actId="164"/>
          <ac:spMkLst>
            <pc:docMk/>
            <pc:sldMk cId="2298670748" sldId="1244"/>
            <ac:spMk id="26" creationId="{392598B6-F7BC-6EAD-B4DE-02CD7AA8020C}"/>
          </ac:spMkLst>
        </pc:spChg>
        <pc:spChg chg="add mod">
          <ac:chgData name="Devraj, Keerthi (DI SW ICS DVT CSF DV FS)" userId="a61e6969-d85e-42d5-913e-c7fe6fb96353" providerId="ADAL" clId="{DDC5853D-AC23-47BD-A462-B07CB2FB084E}" dt="2024-06-07T20:14:19.236" v="6118" actId="20577"/>
          <ac:spMkLst>
            <pc:docMk/>
            <pc:sldMk cId="2298670748" sldId="1244"/>
            <ac:spMk id="29" creationId="{43224EBE-A437-203B-2DF4-8D8B91153B93}"/>
          </ac:spMkLst>
        </pc:spChg>
        <pc:spChg chg="add mod">
          <ac:chgData name="Devraj, Keerthi (DI SW ICS DVT CSF DV FS)" userId="a61e6969-d85e-42d5-913e-c7fe6fb96353" providerId="ADAL" clId="{DDC5853D-AC23-47BD-A462-B07CB2FB084E}" dt="2024-06-06T10:48:15.531" v="2520" actId="164"/>
          <ac:spMkLst>
            <pc:docMk/>
            <pc:sldMk cId="2298670748" sldId="1244"/>
            <ac:spMk id="32" creationId="{D8C302E9-A118-61E7-7C74-C82D451D3C4B}"/>
          </ac:spMkLst>
        </pc:spChg>
        <pc:spChg chg="add mod">
          <ac:chgData name="Devraj, Keerthi (DI SW ICS DVT CSF DV FS)" userId="a61e6969-d85e-42d5-913e-c7fe6fb96353" providerId="ADAL" clId="{DDC5853D-AC23-47BD-A462-B07CB2FB084E}" dt="2024-06-07T20:43:27.530" v="6221" actId="1076"/>
          <ac:spMkLst>
            <pc:docMk/>
            <pc:sldMk cId="2298670748" sldId="1244"/>
            <ac:spMk id="34" creationId="{36CA0D18-75B5-B9D4-6EE6-A5248F7B928B}"/>
          </ac:spMkLst>
        </pc:spChg>
        <pc:grpChg chg="add mod">
          <ac:chgData name="Devraj, Keerthi (DI SW ICS DVT CSF DV FS)" userId="a61e6969-d85e-42d5-913e-c7fe6fb96353" providerId="ADAL" clId="{DDC5853D-AC23-47BD-A462-B07CB2FB084E}" dt="2024-06-06T10:48:15.531" v="2520" actId="164"/>
          <ac:grpSpMkLst>
            <pc:docMk/>
            <pc:sldMk cId="2298670748" sldId="1244"/>
            <ac:grpSpMk id="27" creationId="{B4DEBABF-B0C0-0CE1-F1E1-B9556DD31C4A}"/>
          </ac:grpSpMkLst>
        </pc:grpChg>
        <pc:grpChg chg="add mod">
          <ac:chgData name="Devraj, Keerthi (DI SW ICS DVT CSF DV FS)" userId="a61e6969-d85e-42d5-913e-c7fe6fb96353" providerId="ADAL" clId="{DDC5853D-AC23-47BD-A462-B07CB2FB084E}" dt="2024-06-06T10:48:40.130" v="2532" actId="14100"/>
          <ac:grpSpMkLst>
            <pc:docMk/>
            <pc:sldMk cId="2298670748" sldId="1244"/>
            <ac:grpSpMk id="35" creationId="{CEF8F4BC-C61D-EB38-915E-7E49913713FA}"/>
          </ac:grpSpMkLst>
        </pc:grpChg>
        <pc:grpChg chg="add mod ord">
          <ac:chgData name="Devraj, Keerthi (DI SW ICS DVT CSF DV FS)" userId="a61e6969-d85e-42d5-913e-c7fe6fb96353" providerId="ADAL" clId="{DDC5853D-AC23-47BD-A462-B07CB2FB084E}" dt="2024-06-07T09:38:00.815" v="5708" actId="1076"/>
          <ac:grpSpMkLst>
            <pc:docMk/>
            <pc:sldMk cId="2298670748" sldId="1244"/>
            <ac:grpSpMk id="37" creationId="{BB1E1246-9289-D302-4BC0-1F2D1D0F08D6}"/>
          </ac:grpSpMkLst>
        </pc:grpChg>
        <pc:picChg chg="del">
          <ac:chgData name="Devraj, Keerthi (DI SW ICS DVT CSF DV FS)" userId="a61e6969-d85e-42d5-913e-c7fe6fb96353" providerId="ADAL" clId="{DDC5853D-AC23-47BD-A462-B07CB2FB084E}" dt="2024-06-07T09:37:44.189" v="5704" actId="478"/>
          <ac:picMkLst>
            <pc:docMk/>
            <pc:sldMk cId="2298670748" sldId="1244"/>
            <ac:picMk id="4" creationId="{10661146-0797-F038-9F56-5C8B21CA0C57}"/>
          </ac:picMkLst>
        </pc:picChg>
        <pc:picChg chg="mod">
          <ac:chgData name="Devraj, Keerthi (DI SW ICS DVT CSF DV FS)" userId="a61e6969-d85e-42d5-913e-c7fe6fb96353" providerId="ADAL" clId="{DDC5853D-AC23-47BD-A462-B07CB2FB084E}" dt="2024-06-07T09:37:52.625" v="5706" actId="164"/>
          <ac:picMkLst>
            <pc:docMk/>
            <pc:sldMk cId="2298670748" sldId="1244"/>
            <ac:picMk id="5" creationId="{10661146-0797-F038-9F56-5C8B21CA0C57}"/>
          </ac:picMkLst>
        </pc:picChg>
        <pc:picChg chg="add mod">
          <ac:chgData name="Devraj, Keerthi (DI SW ICS DVT CSF DV FS)" userId="a61e6969-d85e-42d5-913e-c7fe6fb96353" providerId="ADAL" clId="{DDC5853D-AC23-47BD-A462-B07CB2FB084E}" dt="2024-06-06T10:48:15.531" v="2520" actId="164"/>
          <ac:picMkLst>
            <pc:docMk/>
            <pc:sldMk cId="2298670748" sldId="1244"/>
            <ac:picMk id="15" creationId="{DA85EFBB-B692-9DDD-75B8-E50C9952C883}"/>
          </ac:picMkLst>
        </pc:picChg>
        <pc:picChg chg="add mod">
          <ac:chgData name="Devraj, Keerthi (DI SW ICS DVT CSF DV FS)" userId="a61e6969-d85e-42d5-913e-c7fe6fb96353" providerId="ADAL" clId="{DDC5853D-AC23-47BD-A462-B07CB2FB084E}" dt="2024-06-06T10:38:09.741" v="2167"/>
          <ac:picMkLst>
            <pc:docMk/>
            <pc:sldMk cId="2298670748" sldId="1244"/>
            <ac:picMk id="16" creationId="{FE8E23A8-5AF0-95F5-5429-8AAE96696FEB}"/>
          </ac:picMkLst>
        </pc:picChg>
        <pc:picChg chg="add mod">
          <ac:chgData name="Devraj, Keerthi (DI SW ICS DVT CSF DV FS)" userId="a61e6969-d85e-42d5-913e-c7fe6fb96353" providerId="ADAL" clId="{DDC5853D-AC23-47BD-A462-B07CB2FB084E}" dt="2024-06-06T10:39:26.578" v="2191" actId="164"/>
          <ac:picMkLst>
            <pc:docMk/>
            <pc:sldMk cId="2298670748" sldId="1244"/>
            <ac:picMk id="20" creationId="{FE8E23A8-5AF0-95F5-5429-8AAE96696FEB}"/>
          </ac:picMkLst>
        </pc:picChg>
        <pc:picChg chg="add del mod">
          <ac:chgData name="Devraj, Keerthi (DI SW ICS DVT CSF DV FS)" userId="a61e6969-d85e-42d5-913e-c7fe6fb96353" providerId="ADAL" clId="{DDC5853D-AC23-47BD-A462-B07CB2FB084E}" dt="2024-06-06T10:40:09.990" v="2203" actId="478"/>
          <ac:picMkLst>
            <pc:docMk/>
            <pc:sldMk cId="2298670748" sldId="1244"/>
            <ac:picMk id="25" creationId="{A4C9FD11-6DC7-A651-689E-5468D4E3BF59}"/>
          </ac:picMkLst>
        </pc:picChg>
        <pc:picChg chg="add mod">
          <ac:chgData name="Devraj, Keerthi (DI SW ICS DVT CSF DV FS)" userId="a61e6969-d85e-42d5-913e-c7fe6fb96353" providerId="ADAL" clId="{DDC5853D-AC23-47BD-A462-B07CB2FB084E}" dt="2024-06-07T20:14:09.632" v="6113" actId="207"/>
          <ac:picMkLst>
            <pc:docMk/>
            <pc:sldMk cId="2298670748" sldId="1244"/>
            <ac:picMk id="30" creationId="{09AC7288-1CBB-D290-6BE7-CCD53AE9E37D}"/>
          </ac:picMkLst>
        </pc:picChg>
        <pc:picChg chg="add mod">
          <ac:chgData name="Devraj, Keerthi (DI SW ICS DVT CSF DV FS)" userId="a61e6969-d85e-42d5-913e-c7fe6fb96353" providerId="ADAL" clId="{DDC5853D-AC23-47BD-A462-B07CB2FB084E}" dt="2024-06-07T09:37:45.047" v="5705"/>
          <ac:picMkLst>
            <pc:docMk/>
            <pc:sldMk cId="2298670748" sldId="1244"/>
            <ac:picMk id="36" creationId="{66E10AC6-846C-D305-7355-72D087BCAEDA}"/>
          </ac:picMkLst>
        </pc:picChg>
      </pc:sldChg>
      <pc:sldChg chg="addSp delSp modSp add mod">
        <pc:chgData name="Devraj, Keerthi (DI SW ICS DVT CSF DV FS)" userId="a61e6969-d85e-42d5-913e-c7fe6fb96353" providerId="ADAL" clId="{DDC5853D-AC23-47BD-A462-B07CB2FB084E}" dt="2024-06-07T22:16:43.972" v="7205" actId="20577"/>
        <pc:sldMkLst>
          <pc:docMk/>
          <pc:sldMk cId="4025856869" sldId="1245"/>
        </pc:sldMkLst>
        <pc:spChg chg="mod">
          <ac:chgData name="Devraj, Keerthi (DI SW ICS DVT CSF DV FS)" userId="a61e6969-d85e-42d5-913e-c7fe6fb96353" providerId="ADAL" clId="{DDC5853D-AC23-47BD-A462-B07CB2FB084E}" dt="2024-06-07T22:16:43.972" v="7205" actId="20577"/>
          <ac:spMkLst>
            <pc:docMk/>
            <pc:sldMk cId="4025856869" sldId="1245"/>
            <ac:spMk id="2" creationId="{30A59CE0-18CE-9447-F486-84039784745F}"/>
          </ac:spMkLst>
        </pc:spChg>
        <pc:spChg chg="add del mod">
          <ac:chgData name="Devraj, Keerthi (DI SW ICS DVT CSF DV FS)" userId="a61e6969-d85e-42d5-913e-c7fe6fb96353" providerId="ADAL" clId="{DDC5853D-AC23-47BD-A462-B07CB2FB084E}" dt="2024-06-07T21:25:43.361" v="6398" actId="478"/>
          <ac:spMkLst>
            <pc:docMk/>
            <pc:sldMk cId="4025856869" sldId="1245"/>
            <ac:spMk id="5" creationId="{0FBE8077-C486-11DE-AB25-BD0BDB53BCE1}"/>
          </ac:spMkLst>
        </pc:spChg>
        <pc:spChg chg="del">
          <ac:chgData name="Devraj, Keerthi (DI SW ICS DVT CSF DV FS)" userId="a61e6969-d85e-42d5-913e-c7fe6fb96353" providerId="ADAL" clId="{DDC5853D-AC23-47BD-A462-B07CB2FB084E}" dt="2024-06-06T10:57:37.058" v="3193" actId="478"/>
          <ac:spMkLst>
            <pc:docMk/>
            <pc:sldMk cId="4025856869" sldId="1245"/>
            <ac:spMk id="7" creationId="{ED750394-80C0-8125-9319-47BEFF1B59EA}"/>
          </ac:spMkLst>
        </pc:spChg>
        <pc:spChg chg="del">
          <ac:chgData name="Devraj, Keerthi (DI SW ICS DVT CSF DV FS)" userId="a61e6969-d85e-42d5-913e-c7fe6fb96353" providerId="ADAL" clId="{DDC5853D-AC23-47BD-A462-B07CB2FB084E}" dt="2024-06-06T10:57:37.794" v="3194" actId="478"/>
          <ac:spMkLst>
            <pc:docMk/>
            <pc:sldMk cId="4025856869" sldId="1245"/>
            <ac:spMk id="10" creationId="{FC14528A-C9AA-4657-3C88-2036051DCB26}"/>
          </ac:spMkLst>
        </pc:spChg>
        <pc:graphicFrameChg chg="add del mod modGraphic">
          <ac:chgData name="Devraj, Keerthi (DI SW ICS DVT CSF DV FS)" userId="a61e6969-d85e-42d5-913e-c7fe6fb96353" providerId="ADAL" clId="{DDC5853D-AC23-47BD-A462-B07CB2FB084E}" dt="2024-06-07T22:16:14.006" v="7184" actId="478"/>
          <ac:graphicFrameMkLst>
            <pc:docMk/>
            <pc:sldMk cId="4025856869" sldId="1245"/>
            <ac:graphicFrameMk id="4" creationId="{2ED3A429-ACCA-72A4-EB90-0BF38120F4BF}"/>
          </ac:graphicFrameMkLst>
        </pc:graphicFrameChg>
        <pc:graphicFrameChg chg="add mod modGraphic">
          <ac:chgData name="Devraj, Keerthi (DI SW ICS DVT CSF DV FS)" userId="a61e6969-d85e-42d5-913e-c7fe6fb96353" providerId="ADAL" clId="{DDC5853D-AC23-47BD-A462-B07CB2FB084E}" dt="2024-06-07T22:16:25.580" v="7185" actId="1076"/>
          <ac:graphicFrameMkLst>
            <pc:docMk/>
            <pc:sldMk cId="4025856869" sldId="1245"/>
            <ac:graphicFrameMk id="6" creationId="{2F542343-22AB-F1FC-5592-6DA92661D455}"/>
          </ac:graphicFrameMkLst>
        </pc:graphicFrameChg>
        <pc:picChg chg="del">
          <ac:chgData name="Devraj, Keerthi (DI SW ICS DVT CSF DV FS)" userId="a61e6969-d85e-42d5-913e-c7fe6fb96353" providerId="ADAL" clId="{DDC5853D-AC23-47BD-A462-B07CB2FB084E}" dt="2024-06-06T10:57:38.434" v="3195" actId="478"/>
          <ac:picMkLst>
            <pc:docMk/>
            <pc:sldMk cId="4025856869" sldId="1245"/>
            <ac:picMk id="8" creationId="{0DFD562B-FED1-D5FE-7731-870BAEF75517}"/>
          </ac:picMkLst>
        </pc:picChg>
      </pc:sldChg>
      <pc:sldChg chg="add del">
        <pc:chgData name="Devraj, Keerthi (DI SW ICS DVT CSF DV FS)" userId="a61e6969-d85e-42d5-913e-c7fe6fb96353" providerId="ADAL" clId="{DDC5853D-AC23-47BD-A462-B07CB2FB084E}" dt="2024-06-06T11:01:35.837" v="3255" actId="47"/>
        <pc:sldMkLst>
          <pc:docMk/>
          <pc:sldMk cId="2422569639" sldId="1246"/>
        </pc:sldMkLst>
      </pc:sldChg>
      <pc:sldChg chg="addSp delSp modSp add del mod">
        <pc:chgData name="Devraj, Keerthi (DI SW ICS DVT CSF DV FS)" userId="a61e6969-d85e-42d5-913e-c7fe6fb96353" providerId="ADAL" clId="{DDC5853D-AC23-47BD-A462-B07CB2FB084E}" dt="2024-06-07T21:24:55.077" v="6391" actId="47"/>
        <pc:sldMkLst>
          <pc:docMk/>
          <pc:sldMk cId="3465343093" sldId="1246"/>
        </pc:sldMkLst>
        <pc:spChg chg="add mod">
          <ac:chgData name="Devraj, Keerthi (DI SW ICS DVT CSF DV FS)" userId="a61e6969-d85e-42d5-913e-c7fe6fb96353" providerId="ADAL" clId="{DDC5853D-AC23-47BD-A462-B07CB2FB084E}" dt="2024-06-07T21:04:57.501" v="6316" actId="1076"/>
          <ac:spMkLst>
            <pc:docMk/>
            <pc:sldMk cId="3465343093" sldId="1246"/>
            <ac:spMk id="4" creationId="{016D5457-D7EE-7F08-BFF8-5BBC6D9E8D16}"/>
          </ac:spMkLst>
        </pc:spChg>
        <pc:spChg chg="add del mod">
          <ac:chgData name="Devraj, Keerthi (DI SW ICS DVT CSF DV FS)" userId="a61e6969-d85e-42d5-913e-c7fe6fb96353" providerId="ADAL" clId="{DDC5853D-AC23-47BD-A462-B07CB2FB084E}" dt="2024-06-07T21:03:15.818" v="6279" actId="478"/>
          <ac:spMkLst>
            <pc:docMk/>
            <pc:sldMk cId="3465343093" sldId="1246"/>
            <ac:spMk id="5" creationId="{2A2BD66F-8F02-45BC-2F8F-766907DEB09C}"/>
          </ac:spMkLst>
        </pc:spChg>
        <pc:spChg chg="add del mod">
          <ac:chgData name="Devraj, Keerthi (DI SW ICS DVT CSF DV FS)" userId="a61e6969-d85e-42d5-913e-c7fe6fb96353" providerId="ADAL" clId="{DDC5853D-AC23-47BD-A462-B07CB2FB084E}" dt="2024-06-07T21:03:15.818" v="6279" actId="478"/>
          <ac:spMkLst>
            <pc:docMk/>
            <pc:sldMk cId="3465343093" sldId="1246"/>
            <ac:spMk id="6" creationId="{F68A0314-D275-8666-03DD-DBAC9FCC0BBD}"/>
          </ac:spMkLst>
        </pc:spChg>
        <pc:spChg chg="del">
          <ac:chgData name="Devraj, Keerthi (DI SW ICS DVT CSF DV FS)" userId="a61e6969-d85e-42d5-913e-c7fe6fb96353" providerId="ADAL" clId="{DDC5853D-AC23-47BD-A462-B07CB2FB084E}" dt="2024-06-07T20:44:56.083" v="6224" actId="478"/>
          <ac:spMkLst>
            <pc:docMk/>
            <pc:sldMk cId="3465343093" sldId="1246"/>
            <ac:spMk id="7" creationId="{ED750394-80C0-8125-9319-47BEFF1B59EA}"/>
          </ac:spMkLst>
        </pc:spChg>
        <pc:spChg chg="add del mod">
          <ac:chgData name="Devraj, Keerthi (DI SW ICS DVT CSF DV FS)" userId="a61e6969-d85e-42d5-913e-c7fe6fb96353" providerId="ADAL" clId="{DDC5853D-AC23-47BD-A462-B07CB2FB084E}" dt="2024-06-07T21:03:15.818" v="6279" actId="478"/>
          <ac:spMkLst>
            <pc:docMk/>
            <pc:sldMk cId="3465343093" sldId="1246"/>
            <ac:spMk id="9" creationId="{893BE386-1B47-FBC1-61F2-FF32793FFEE2}"/>
          </ac:spMkLst>
        </pc:spChg>
        <pc:spChg chg="del">
          <ac:chgData name="Devraj, Keerthi (DI SW ICS DVT CSF DV FS)" userId="a61e6969-d85e-42d5-913e-c7fe6fb96353" providerId="ADAL" clId="{DDC5853D-AC23-47BD-A462-B07CB2FB084E}" dt="2024-06-07T20:45:00.707" v="6227" actId="478"/>
          <ac:spMkLst>
            <pc:docMk/>
            <pc:sldMk cId="3465343093" sldId="1246"/>
            <ac:spMk id="10" creationId="{FC14528A-C9AA-4657-3C88-2036051DCB26}"/>
          </ac:spMkLst>
        </pc:spChg>
        <pc:spChg chg="add del mod">
          <ac:chgData name="Devraj, Keerthi (DI SW ICS DVT CSF DV FS)" userId="a61e6969-d85e-42d5-913e-c7fe6fb96353" providerId="ADAL" clId="{DDC5853D-AC23-47BD-A462-B07CB2FB084E}" dt="2024-06-07T21:03:15.818" v="6279" actId="478"/>
          <ac:spMkLst>
            <pc:docMk/>
            <pc:sldMk cId="3465343093" sldId="1246"/>
            <ac:spMk id="11" creationId="{C950BAE3-0494-1721-DA58-9A529FC14AAF}"/>
          </ac:spMkLst>
        </pc:spChg>
        <pc:spChg chg="add del mod">
          <ac:chgData name="Devraj, Keerthi (DI SW ICS DVT CSF DV FS)" userId="a61e6969-d85e-42d5-913e-c7fe6fb96353" providerId="ADAL" clId="{DDC5853D-AC23-47BD-A462-B07CB2FB084E}" dt="2024-06-07T21:03:15.818" v="6279" actId="478"/>
          <ac:spMkLst>
            <pc:docMk/>
            <pc:sldMk cId="3465343093" sldId="1246"/>
            <ac:spMk id="12" creationId="{102CBD3E-278E-0B4B-E0AE-8F64D0FE1314}"/>
          </ac:spMkLst>
        </pc:spChg>
        <pc:spChg chg="add del mod">
          <ac:chgData name="Devraj, Keerthi (DI SW ICS DVT CSF DV FS)" userId="a61e6969-d85e-42d5-913e-c7fe6fb96353" providerId="ADAL" clId="{DDC5853D-AC23-47BD-A462-B07CB2FB084E}" dt="2024-06-07T21:03:15.818" v="6279" actId="478"/>
          <ac:spMkLst>
            <pc:docMk/>
            <pc:sldMk cId="3465343093" sldId="1246"/>
            <ac:spMk id="13" creationId="{C53F802B-CE30-116C-6C5F-D479320019C2}"/>
          </ac:spMkLst>
        </pc:spChg>
        <pc:spChg chg="add del mod">
          <ac:chgData name="Devraj, Keerthi (DI SW ICS DVT CSF DV FS)" userId="a61e6969-d85e-42d5-913e-c7fe6fb96353" providerId="ADAL" clId="{DDC5853D-AC23-47BD-A462-B07CB2FB084E}" dt="2024-06-07T21:03:15.818" v="6279" actId="478"/>
          <ac:spMkLst>
            <pc:docMk/>
            <pc:sldMk cId="3465343093" sldId="1246"/>
            <ac:spMk id="14" creationId="{B4A01C44-1A2E-6D98-D233-79446364215C}"/>
          </ac:spMkLst>
        </pc:spChg>
        <pc:spChg chg="add del mod">
          <ac:chgData name="Devraj, Keerthi (DI SW ICS DVT CSF DV FS)" userId="a61e6969-d85e-42d5-913e-c7fe6fb96353" providerId="ADAL" clId="{DDC5853D-AC23-47BD-A462-B07CB2FB084E}" dt="2024-06-07T21:01:23.771" v="6267" actId="478"/>
          <ac:spMkLst>
            <pc:docMk/>
            <pc:sldMk cId="3465343093" sldId="1246"/>
            <ac:spMk id="15" creationId="{BFE6B3E5-ED6E-F775-308C-FCD4D8E85D02}"/>
          </ac:spMkLst>
        </pc:spChg>
        <pc:spChg chg="add del">
          <ac:chgData name="Devraj, Keerthi (DI SW ICS DVT CSF DV FS)" userId="a61e6969-d85e-42d5-913e-c7fe6fb96353" providerId="ADAL" clId="{DDC5853D-AC23-47BD-A462-B07CB2FB084E}" dt="2024-06-07T21:02:57.434" v="6278" actId="478"/>
          <ac:spMkLst>
            <pc:docMk/>
            <pc:sldMk cId="3465343093" sldId="1246"/>
            <ac:spMk id="22" creationId="{8A7704C0-BE1F-A3E5-7C59-2D67DB7D4423}"/>
          </ac:spMkLst>
        </pc:spChg>
        <pc:spChg chg="add mod">
          <ac:chgData name="Devraj, Keerthi (DI SW ICS DVT CSF DV FS)" userId="a61e6969-d85e-42d5-913e-c7fe6fb96353" providerId="ADAL" clId="{DDC5853D-AC23-47BD-A462-B07CB2FB084E}" dt="2024-06-07T21:19:46.340" v="6359" actId="114"/>
          <ac:spMkLst>
            <pc:docMk/>
            <pc:sldMk cId="3465343093" sldId="1246"/>
            <ac:spMk id="59" creationId="{E56D73CD-ABA7-B8F5-3018-02EF7F17CA1C}"/>
          </ac:spMkLst>
        </pc:spChg>
        <pc:spChg chg="add del mod">
          <ac:chgData name="Devraj, Keerthi (DI SW ICS DVT CSF DV FS)" userId="a61e6969-d85e-42d5-913e-c7fe6fb96353" providerId="ADAL" clId="{DDC5853D-AC23-47BD-A462-B07CB2FB084E}" dt="2024-06-07T21:21:53.674" v="6383" actId="478"/>
          <ac:spMkLst>
            <pc:docMk/>
            <pc:sldMk cId="3465343093" sldId="1246"/>
            <ac:spMk id="60" creationId="{680FE7FC-E410-120C-9E23-E697271CE788}"/>
          </ac:spMkLst>
        </pc:spChg>
        <pc:spChg chg="add del mod">
          <ac:chgData name="Devraj, Keerthi (DI SW ICS DVT CSF DV FS)" userId="a61e6969-d85e-42d5-913e-c7fe6fb96353" providerId="ADAL" clId="{DDC5853D-AC23-47BD-A462-B07CB2FB084E}" dt="2024-06-07T21:21:54.968" v="6384" actId="478"/>
          <ac:spMkLst>
            <pc:docMk/>
            <pc:sldMk cId="3465343093" sldId="1246"/>
            <ac:spMk id="61" creationId="{EC434F3B-AFFF-282F-1942-DBC00130AE1E}"/>
          </ac:spMkLst>
        </pc:spChg>
        <pc:spChg chg="add del mod">
          <ac:chgData name="Devraj, Keerthi (DI SW ICS DVT CSF DV FS)" userId="a61e6969-d85e-42d5-913e-c7fe6fb96353" providerId="ADAL" clId="{DDC5853D-AC23-47BD-A462-B07CB2FB084E}" dt="2024-06-07T21:21:48.168" v="6382" actId="478"/>
          <ac:spMkLst>
            <pc:docMk/>
            <pc:sldMk cId="3465343093" sldId="1246"/>
            <ac:spMk id="65" creationId="{CDB863E4-07D1-DDC1-2251-EC57B2DC3653}"/>
          </ac:spMkLst>
        </pc:spChg>
        <pc:picChg chg="mod">
          <ac:chgData name="Devraj, Keerthi (DI SW ICS DVT CSF DV FS)" userId="a61e6969-d85e-42d5-913e-c7fe6fb96353" providerId="ADAL" clId="{DDC5853D-AC23-47BD-A462-B07CB2FB084E}" dt="2024-06-07T20:45:18.891" v="6235" actId="14100"/>
          <ac:picMkLst>
            <pc:docMk/>
            <pc:sldMk cId="3465343093" sldId="1246"/>
            <ac:picMk id="8" creationId="{0DFD562B-FED1-D5FE-7731-870BAEF75517}"/>
          </ac:picMkLst>
        </pc:picChg>
        <pc:cxnChg chg="add del mod">
          <ac:chgData name="Devraj, Keerthi (DI SW ICS DVT CSF DV FS)" userId="a61e6969-d85e-42d5-913e-c7fe6fb96353" providerId="ADAL" clId="{DDC5853D-AC23-47BD-A462-B07CB2FB084E}" dt="2024-06-07T21:01:53.514" v="6276" actId="478"/>
          <ac:cxnSpMkLst>
            <pc:docMk/>
            <pc:sldMk cId="3465343093" sldId="1246"/>
            <ac:cxnSpMk id="17" creationId="{3B251429-8A53-963F-C56D-59ED0645E95A}"/>
          </ac:cxnSpMkLst>
        </pc:cxnChg>
        <pc:cxnChg chg="add del mod">
          <ac:chgData name="Devraj, Keerthi (DI SW ICS DVT CSF DV FS)" userId="a61e6969-d85e-42d5-913e-c7fe6fb96353" providerId="ADAL" clId="{DDC5853D-AC23-47BD-A462-B07CB2FB084E}" dt="2024-06-07T21:01:52.057" v="6275" actId="478"/>
          <ac:cxnSpMkLst>
            <pc:docMk/>
            <pc:sldMk cId="3465343093" sldId="1246"/>
            <ac:cxnSpMk id="19" creationId="{03A73293-8020-8966-5CDC-28E4EF97EEFA}"/>
          </ac:cxnSpMkLst>
        </pc:cxnChg>
        <pc:cxnChg chg="add mod">
          <ac:chgData name="Devraj, Keerthi (DI SW ICS DVT CSF DV FS)" userId="a61e6969-d85e-42d5-913e-c7fe6fb96353" providerId="ADAL" clId="{DDC5853D-AC23-47BD-A462-B07CB2FB084E}" dt="2024-06-07T21:23:02.819" v="6388" actId="692"/>
          <ac:cxnSpMkLst>
            <pc:docMk/>
            <pc:sldMk cId="3465343093" sldId="1246"/>
            <ac:cxnSpMk id="24" creationId="{6BCE6575-E246-171A-F77F-987F90505923}"/>
          </ac:cxnSpMkLst>
        </pc:cxnChg>
        <pc:cxnChg chg="add mod">
          <ac:chgData name="Devraj, Keerthi (DI SW ICS DVT CSF DV FS)" userId="a61e6969-d85e-42d5-913e-c7fe6fb96353" providerId="ADAL" clId="{DDC5853D-AC23-47BD-A462-B07CB2FB084E}" dt="2024-06-07T21:21:21.618" v="6376" actId="692"/>
          <ac:cxnSpMkLst>
            <pc:docMk/>
            <pc:sldMk cId="3465343093" sldId="1246"/>
            <ac:cxnSpMk id="28" creationId="{03250EA6-4BB1-8643-14DC-8D9062A47C9D}"/>
          </ac:cxnSpMkLst>
        </pc:cxnChg>
        <pc:cxnChg chg="add mod">
          <ac:chgData name="Devraj, Keerthi (DI SW ICS DVT CSF DV FS)" userId="a61e6969-d85e-42d5-913e-c7fe6fb96353" providerId="ADAL" clId="{DDC5853D-AC23-47BD-A462-B07CB2FB084E}" dt="2024-06-07T21:21:21.618" v="6376" actId="692"/>
          <ac:cxnSpMkLst>
            <pc:docMk/>
            <pc:sldMk cId="3465343093" sldId="1246"/>
            <ac:cxnSpMk id="31" creationId="{5413ABB9-DE33-5C40-8D7B-8AEBB4C73E69}"/>
          </ac:cxnSpMkLst>
        </pc:cxnChg>
        <pc:cxnChg chg="add mod">
          <ac:chgData name="Devraj, Keerthi (DI SW ICS DVT CSF DV FS)" userId="a61e6969-d85e-42d5-913e-c7fe6fb96353" providerId="ADAL" clId="{DDC5853D-AC23-47BD-A462-B07CB2FB084E}" dt="2024-06-07T21:21:21.618" v="6376" actId="692"/>
          <ac:cxnSpMkLst>
            <pc:docMk/>
            <pc:sldMk cId="3465343093" sldId="1246"/>
            <ac:cxnSpMk id="34" creationId="{DD9B7235-BA5E-3341-6B23-D112E1629D16}"/>
          </ac:cxnSpMkLst>
        </pc:cxnChg>
        <pc:cxnChg chg="add mod">
          <ac:chgData name="Devraj, Keerthi (DI SW ICS DVT CSF DV FS)" userId="a61e6969-d85e-42d5-913e-c7fe6fb96353" providerId="ADAL" clId="{DDC5853D-AC23-47BD-A462-B07CB2FB084E}" dt="2024-06-07T21:21:21.618" v="6376" actId="692"/>
          <ac:cxnSpMkLst>
            <pc:docMk/>
            <pc:sldMk cId="3465343093" sldId="1246"/>
            <ac:cxnSpMk id="37" creationId="{C18E5A03-27CE-E912-1213-F2A321D7690B}"/>
          </ac:cxnSpMkLst>
        </pc:cxnChg>
        <pc:cxnChg chg="add mod">
          <ac:chgData name="Devraj, Keerthi (DI SW ICS DVT CSF DV FS)" userId="a61e6969-d85e-42d5-913e-c7fe6fb96353" providerId="ADAL" clId="{DDC5853D-AC23-47BD-A462-B07CB2FB084E}" dt="2024-06-07T21:21:21.618" v="6376" actId="692"/>
          <ac:cxnSpMkLst>
            <pc:docMk/>
            <pc:sldMk cId="3465343093" sldId="1246"/>
            <ac:cxnSpMk id="40" creationId="{95C2545A-C799-D924-A768-AABABD50ACE7}"/>
          </ac:cxnSpMkLst>
        </pc:cxnChg>
        <pc:cxnChg chg="add mod">
          <ac:chgData name="Devraj, Keerthi (DI SW ICS DVT CSF DV FS)" userId="a61e6969-d85e-42d5-913e-c7fe6fb96353" providerId="ADAL" clId="{DDC5853D-AC23-47BD-A462-B07CB2FB084E}" dt="2024-06-07T21:21:21.618" v="6376" actId="692"/>
          <ac:cxnSpMkLst>
            <pc:docMk/>
            <pc:sldMk cId="3465343093" sldId="1246"/>
            <ac:cxnSpMk id="43" creationId="{37BA6148-EAAC-F3CC-03A4-66F28A9CAF29}"/>
          </ac:cxnSpMkLst>
        </pc:cxnChg>
        <pc:cxnChg chg="add mod">
          <ac:chgData name="Devraj, Keerthi (DI SW ICS DVT CSF DV FS)" userId="a61e6969-d85e-42d5-913e-c7fe6fb96353" providerId="ADAL" clId="{DDC5853D-AC23-47BD-A462-B07CB2FB084E}" dt="2024-06-07T21:21:21.618" v="6376" actId="692"/>
          <ac:cxnSpMkLst>
            <pc:docMk/>
            <pc:sldMk cId="3465343093" sldId="1246"/>
            <ac:cxnSpMk id="46" creationId="{03C404FC-6B86-3ECE-643C-771AD6549E6D}"/>
          </ac:cxnSpMkLst>
        </pc:cxnChg>
        <pc:cxnChg chg="add mod">
          <ac:chgData name="Devraj, Keerthi (DI SW ICS DVT CSF DV FS)" userId="a61e6969-d85e-42d5-913e-c7fe6fb96353" providerId="ADAL" clId="{DDC5853D-AC23-47BD-A462-B07CB2FB084E}" dt="2024-06-07T21:21:21.618" v="6376" actId="692"/>
          <ac:cxnSpMkLst>
            <pc:docMk/>
            <pc:sldMk cId="3465343093" sldId="1246"/>
            <ac:cxnSpMk id="49" creationId="{7CA9CAEF-6D98-8F63-8A06-4BE5AE283D8B}"/>
          </ac:cxnSpMkLst>
        </pc:cxnChg>
        <pc:cxnChg chg="add mod">
          <ac:chgData name="Devraj, Keerthi (DI SW ICS DVT CSF DV FS)" userId="a61e6969-d85e-42d5-913e-c7fe6fb96353" providerId="ADAL" clId="{DDC5853D-AC23-47BD-A462-B07CB2FB084E}" dt="2024-06-07T21:21:21.618" v="6376" actId="692"/>
          <ac:cxnSpMkLst>
            <pc:docMk/>
            <pc:sldMk cId="3465343093" sldId="1246"/>
            <ac:cxnSpMk id="52" creationId="{1A69E1A2-1F89-282D-177A-ED45285BF683}"/>
          </ac:cxnSpMkLst>
        </pc:cxnChg>
        <pc:cxnChg chg="add mod">
          <ac:chgData name="Devraj, Keerthi (DI SW ICS DVT CSF DV FS)" userId="a61e6969-d85e-42d5-913e-c7fe6fb96353" providerId="ADAL" clId="{DDC5853D-AC23-47BD-A462-B07CB2FB084E}" dt="2024-06-07T21:21:21.618" v="6376" actId="692"/>
          <ac:cxnSpMkLst>
            <pc:docMk/>
            <pc:sldMk cId="3465343093" sldId="1246"/>
            <ac:cxnSpMk id="55" creationId="{CD8ED607-8DDD-B594-6B97-4F71A2CF45DC}"/>
          </ac:cxnSpMkLst>
        </pc:cxnChg>
        <pc:cxnChg chg="add mod">
          <ac:chgData name="Devraj, Keerthi (DI SW ICS DVT CSF DV FS)" userId="a61e6969-d85e-42d5-913e-c7fe6fb96353" providerId="ADAL" clId="{DDC5853D-AC23-47BD-A462-B07CB2FB084E}" dt="2024-06-07T21:23:02.819" v="6388" actId="692"/>
          <ac:cxnSpMkLst>
            <pc:docMk/>
            <pc:sldMk cId="3465343093" sldId="1246"/>
            <ac:cxnSpMk id="62" creationId="{C50C0809-7F36-57A4-4735-938FD3D1BF4F}"/>
          </ac:cxnSpMkLst>
        </pc:cxnChg>
      </pc:sldChg>
      <pc:sldChg chg="modSp add mod">
        <pc:chgData name="Devraj, Keerthi (DI SW ICS DVT CSF DV FS)" userId="a61e6969-d85e-42d5-913e-c7fe6fb96353" providerId="ADAL" clId="{DDC5853D-AC23-47BD-A462-B07CB2FB084E}" dt="2024-06-07T22:16:38.725" v="7196" actId="20577"/>
        <pc:sldMkLst>
          <pc:docMk/>
          <pc:sldMk cId="2450087413" sldId="1247"/>
        </pc:sldMkLst>
        <pc:spChg chg="mod">
          <ac:chgData name="Devraj, Keerthi (DI SW ICS DVT CSF DV FS)" userId="a61e6969-d85e-42d5-913e-c7fe6fb96353" providerId="ADAL" clId="{DDC5853D-AC23-47BD-A462-B07CB2FB084E}" dt="2024-06-07T22:16:38.725" v="7196" actId="20577"/>
          <ac:spMkLst>
            <pc:docMk/>
            <pc:sldMk cId="2450087413" sldId="1247"/>
            <ac:spMk id="2" creationId="{30A59CE0-18CE-9447-F486-84039784745F}"/>
          </ac:spMkLst>
        </pc:spChg>
        <pc:picChg chg="mod">
          <ac:chgData name="Devraj, Keerthi (DI SW ICS DVT CSF DV FS)" userId="a61e6969-d85e-42d5-913e-c7fe6fb96353" providerId="ADAL" clId="{DDC5853D-AC23-47BD-A462-B07CB2FB084E}" dt="2024-06-07T21:24:48.348" v="6390" actId="14100"/>
          <ac:picMkLst>
            <pc:docMk/>
            <pc:sldMk cId="2450087413" sldId="1247"/>
            <ac:picMk id="8" creationId="{0DFD562B-FED1-D5FE-7731-870BAEF75517}"/>
          </ac:picMkLst>
        </pc:picChg>
      </pc:sldChg>
      <pc:sldChg chg="addSp delSp modSp add mod ord modNotesTx">
        <pc:chgData name="Devraj, Keerthi (DI SW ICS DVT CSF DV FS)" userId="a61e6969-d85e-42d5-913e-c7fe6fb96353" providerId="ADAL" clId="{DDC5853D-AC23-47BD-A462-B07CB2FB084E}" dt="2024-06-07T22:33:04.930" v="7773" actId="6549"/>
        <pc:sldMkLst>
          <pc:docMk/>
          <pc:sldMk cId="2507202493" sldId="1248"/>
        </pc:sldMkLst>
        <pc:spChg chg="mod">
          <ac:chgData name="Devraj, Keerthi (DI SW ICS DVT CSF DV FS)" userId="a61e6969-d85e-42d5-913e-c7fe6fb96353" providerId="ADAL" clId="{DDC5853D-AC23-47BD-A462-B07CB2FB084E}" dt="2024-06-07T22:29:13.845" v="7350" actId="20577"/>
          <ac:spMkLst>
            <pc:docMk/>
            <pc:sldMk cId="2507202493" sldId="1248"/>
            <ac:spMk id="2" creationId="{30A59CE0-18CE-9447-F486-84039784745F}"/>
          </ac:spMkLst>
        </pc:spChg>
        <pc:spChg chg="del mod">
          <ac:chgData name="Devraj, Keerthi (DI SW ICS DVT CSF DV FS)" userId="a61e6969-d85e-42d5-913e-c7fe6fb96353" providerId="ADAL" clId="{DDC5853D-AC23-47BD-A462-B07CB2FB084E}" dt="2024-06-07T22:17:17.494" v="7219" actId="478"/>
          <ac:spMkLst>
            <pc:docMk/>
            <pc:sldMk cId="2507202493" sldId="1248"/>
            <ac:spMk id="4" creationId="{016D5457-D7EE-7F08-BFF8-5BBC6D9E8D16}"/>
          </ac:spMkLst>
        </pc:spChg>
        <pc:spChg chg="add del">
          <ac:chgData name="Devraj, Keerthi (DI SW ICS DVT CSF DV FS)" userId="a61e6969-d85e-42d5-913e-c7fe6fb96353" providerId="ADAL" clId="{DDC5853D-AC23-47BD-A462-B07CB2FB084E}" dt="2024-06-07T22:17:41.287" v="7221" actId="478"/>
          <ac:spMkLst>
            <pc:docMk/>
            <pc:sldMk cId="2507202493" sldId="1248"/>
            <ac:spMk id="5" creationId="{F1711F16-607A-1852-AA14-6F1977DE9D29}"/>
          </ac:spMkLst>
        </pc:spChg>
        <pc:spChg chg="add mod">
          <ac:chgData name="Devraj, Keerthi (DI SW ICS DVT CSF DV FS)" userId="a61e6969-d85e-42d5-913e-c7fe6fb96353" providerId="ADAL" clId="{DDC5853D-AC23-47BD-A462-B07CB2FB084E}" dt="2024-06-07T22:30:44.565" v="7448" actId="208"/>
          <ac:spMkLst>
            <pc:docMk/>
            <pc:sldMk cId="2507202493" sldId="1248"/>
            <ac:spMk id="6" creationId="{5320017A-FD0C-86D2-C72F-BF21BB45A52B}"/>
          </ac:spMkLst>
        </pc:spChg>
        <pc:spChg chg="add mod">
          <ac:chgData name="Devraj, Keerthi (DI SW ICS DVT CSF DV FS)" userId="a61e6969-d85e-42d5-913e-c7fe6fb96353" providerId="ADAL" clId="{DDC5853D-AC23-47BD-A462-B07CB2FB084E}" dt="2024-06-07T22:30:44.565" v="7448" actId="208"/>
          <ac:spMkLst>
            <pc:docMk/>
            <pc:sldMk cId="2507202493" sldId="1248"/>
            <ac:spMk id="7" creationId="{0C48A9FC-98B0-4284-4038-D7FEF35E1317}"/>
          </ac:spMkLst>
        </pc:spChg>
        <pc:spChg chg="add mod">
          <ac:chgData name="Devraj, Keerthi (DI SW ICS DVT CSF DV FS)" userId="a61e6969-d85e-42d5-913e-c7fe6fb96353" providerId="ADAL" clId="{DDC5853D-AC23-47BD-A462-B07CB2FB084E}" dt="2024-06-07T22:30:44.565" v="7448" actId="208"/>
          <ac:spMkLst>
            <pc:docMk/>
            <pc:sldMk cId="2507202493" sldId="1248"/>
            <ac:spMk id="9" creationId="{B064B16B-E2D2-3CFE-AB99-193D73E71F36}"/>
          </ac:spMkLst>
        </pc:spChg>
        <pc:spChg chg="add mod">
          <ac:chgData name="Devraj, Keerthi (DI SW ICS DVT CSF DV FS)" userId="a61e6969-d85e-42d5-913e-c7fe6fb96353" providerId="ADAL" clId="{DDC5853D-AC23-47BD-A462-B07CB2FB084E}" dt="2024-06-07T22:30:44.565" v="7448" actId="208"/>
          <ac:spMkLst>
            <pc:docMk/>
            <pc:sldMk cId="2507202493" sldId="1248"/>
            <ac:spMk id="10" creationId="{364EFA0D-1C96-6F26-4ACC-456B3B63BF1D}"/>
          </ac:spMkLst>
        </pc:spChg>
        <pc:spChg chg="add mod">
          <ac:chgData name="Devraj, Keerthi (DI SW ICS DVT CSF DV FS)" userId="a61e6969-d85e-42d5-913e-c7fe6fb96353" providerId="ADAL" clId="{DDC5853D-AC23-47BD-A462-B07CB2FB084E}" dt="2024-06-07T22:30:44.565" v="7448" actId="208"/>
          <ac:spMkLst>
            <pc:docMk/>
            <pc:sldMk cId="2507202493" sldId="1248"/>
            <ac:spMk id="11" creationId="{50EB22F4-A346-4BAD-BF30-A6A5B7AAA158}"/>
          </ac:spMkLst>
        </pc:spChg>
        <pc:spChg chg="mod">
          <ac:chgData name="Devraj, Keerthi (DI SW ICS DVT CSF DV FS)" userId="a61e6969-d85e-42d5-913e-c7fe6fb96353" providerId="ADAL" clId="{DDC5853D-AC23-47BD-A462-B07CB2FB084E}" dt="2024-06-07T22:33:00.905" v="7772" actId="20577"/>
          <ac:spMkLst>
            <pc:docMk/>
            <pc:sldMk cId="2507202493" sldId="1248"/>
            <ac:spMk id="59" creationId="{E56D73CD-ABA7-B8F5-3018-02EF7F17CA1C}"/>
          </ac:spMkLst>
        </pc:spChg>
        <pc:inkChg chg="add del">
          <ac:chgData name="Devraj, Keerthi (DI SW ICS DVT CSF DV FS)" userId="a61e6969-d85e-42d5-913e-c7fe6fb96353" providerId="ADAL" clId="{DDC5853D-AC23-47BD-A462-B07CB2FB084E}" dt="2024-06-07T22:31:11.032" v="7450" actId="9405"/>
          <ac:inkMkLst>
            <pc:docMk/>
            <pc:sldMk cId="2507202493" sldId="1248"/>
            <ac:inkMk id="12" creationId="{3A96F747-832D-5B4A-2F96-31609DF02806}"/>
          </ac:inkMkLst>
        </pc:inkChg>
        <pc:inkChg chg="add">
          <ac:chgData name="Devraj, Keerthi (DI SW ICS DVT CSF DV FS)" userId="a61e6969-d85e-42d5-913e-c7fe6fb96353" providerId="ADAL" clId="{DDC5853D-AC23-47BD-A462-B07CB2FB084E}" dt="2024-06-07T22:31:16.453" v="7451" actId="9405"/>
          <ac:inkMkLst>
            <pc:docMk/>
            <pc:sldMk cId="2507202493" sldId="1248"/>
            <ac:inkMk id="13" creationId="{9F0A9872-B58F-6DFF-A2B6-11AE47236AD6}"/>
          </ac:inkMkLst>
        </pc:inkChg>
        <pc:inkChg chg="add">
          <ac:chgData name="Devraj, Keerthi (DI SW ICS DVT CSF DV FS)" userId="a61e6969-d85e-42d5-913e-c7fe6fb96353" providerId="ADAL" clId="{DDC5853D-AC23-47BD-A462-B07CB2FB084E}" dt="2024-06-07T22:31:16.909" v="7452" actId="9405"/>
          <ac:inkMkLst>
            <pc:docMk/>
            <pc:sldMk cId="2507202493" sldId="1248"/>
            <ac:inkMk id="14" creationId="{8B9C12F9-E763-96E1-2187-0658DD79C0A6}"/>
          </ac:inkMkLst>
        </pc:inkChg>
        <pc:inkChg chg="add">
          <ac:chgData name="Devraj, Keerthi (DI SW ICS DVT CSF DV FS)" userId="a61e6969-d85e-42d5-913e-c7fe6fb96353" providerId="ADAL" clId="{DDC5853D-AC23-47BD-A462-B07CB2FB084E}" dt="2024-06-07T22:31:18.311" v="7453" actId="9405"/>
          <ac:inkMkLst>
            <pc:docMk/>
            <pc:sldMk cId="2507202493" sldId="1248"/>
            <ac:inkMk id="15" creationId="{085D7ED0-3B59-6C8F-CE49-521967005A22}"/>
          </ac:inkMkLst>
        </pc:inkChg>
        <pc:cxnChg chg="del">
          <ac:chgData name="Devraj, Keerthi (DI SW ICS DVT CSF DV FS)" userId="a61e6969-d85e-42d5-913e-c7fe6fb96353" providerId="ADAL" clId="{DDC5853D-AC23-47BD-A462-B07CB2FB084E}" dt="2024-06-07T22:17:09.717" v="7216" actId="478"/>
          <ac:cxnSpMkLst>
            <pc:docMk/>
            <pc:sldMk cId="2507202493" sldId="1248"/>
            <ac:cxnSpMk id="24" creationId="{6BCE6575-E246-171A-F77F-987F90505923}"/>
          </ac:cxnSpMkLst>
        </pc:cxnChg>
        <pc:cxnChg chg="del mod">
          <ac:chgData name="Devraj, Keerthi (DI SW ICS DVT CSF DV FS)" userId="a61e6969-d85e-42d5-913e-c7fe6fb96353" providerId="ADAL" clId="{DDC5853D-AC23-47BD-A462-B07CB2FB084E}" dt="2024-06-07T22:17:07.416" v="7214" actId="478"/>
          <ac:cxnSpMkLst>
            <pc:docMk/>
            <pc:sldMk cId="2507202493" sldId="1248"/>
            <ac:cxnSpMk id="28" creationId="{03250EA6-4BB1-8643-14DC-8D9062A47C9D}"/>
          </ac:cxnSpMkLst>
        </pc:cxnChg>
        <pc:cxnChg chg="del mod">
          <ac:chgData name="Devraj, Keerthi (DI SW ICS DVT CSF DV FS)" userId="a61e6969-d85e-42d5-913e-c7fe6fb96353" providerId="ADAL" clId="{DDC5853D-AC23-47BD-A462-B07CB2FB084E}" dt="2024-06-07T22:17:05.845" v="7212" actId="478"/>
          <ac:cxnSpMkLst>
            <pc:docMk/>
            <pc:sldMk cId="2507202493" sldId="1248"/>
            <ac:cxnSpMk id="31" creationId="{5413ABB9-DE33-5C40-8D7B-8AEBB4C73E69}"/>
          </ac:cxnSpMkLst>
        </pc:cxnChg>
        <pc:cxnChg chg="del">
          <ac:chgData name="Devraj, Keerthi (DI SW ICS DVT CSF DV FS)" userId="a61e6969-d85e-42d5-913e-c7fe6fb96353" providerId="ADAL" clId="{DDC5853D-AC23-47BD-A462-B07CB2FB084E}" dt="2024-06-07T22:17:08.759" v="7215" actId="478"/>
          <ac:cxnSpMkLst>
            <pc:docMk/>
            <pc:sldMk cId="2507202493" sldId="1248"/>
            <ac:cxnSpMk id="34" creationId="{DD9B7235-BA5E-3341-6B23-D112E1629D16}"/>
          </ac:cxnSpMkLst>
        </pc:cxnChg>
        <pc:cxnChg chg="del mod">
          <ac:chgData name="Devraj, Keerthi (DI SW ICS DVT CSF DV FS)" userId="a61e6969-d85e-42d5-913e-c7fe6fb96353" providerId="ADAL" clId="{DDC5853D-AC23-47BD-A462-B07CB2FB084E}" dt="2024-06-07T22:17:06.581" v="7213" actId="478"/>
          <ac:cxnSpMkLst>
            <pc:docMk/>
            <pc:sldMk cId="2507202493" sldId="1248"/>
            <ac:cxnSpMk id="37" creationId="{C18E5A03-27CE-E912-1213-F2A321D7690B}"/>
          </ac:cxnSpMkLst>
        </pc:cxnChg>
        <pc:cxnChg chg="del mod">
          <ac:chgData name="Devraj, Keerthi (DI SW ICS DVT CSF DV FS)" userId="a61e6969-d85e-42d5-913e-c7fe6fb96353" providerId="ADAL" clId="{DDC5853D-AC23-47BD-A462-B07CB2FB084E}" dt="2024-06-07T22:17:04.421" v="7211" actId="478"/>
          <ac:cxnSpMkLst>
            <pc:docMk/>
            <pc:sldMk cId="2507202493" sldId="1248"/>
            <ac:cxnSpMk id="40" creationId="{95C2545A-C799-D924-A768-AABABD50ACE7}"/>
          </ac:cxnSpMkLst>
        </pc:cxnChg>
        <pc:cxnChg chg="del">
          <ac:chgData name="Devraj, Keerthi (DI SW ICS DVT CSF DV FS)" userId="a61e6969-d85e-42d5-913e-c7fe6fb96353" providerId="ADAL" clId="{DDC5853D-AC23-47BD-A462-B07CB2FB084E}" dt="2024-06-07T22:17:03.825" v="7210" actId="478"/>
          <ac:cxnSpMkLst>
            <pc:docMk/>
            <pc:sldMk cId="2507202493" sldId="1248"/>
            <ac:cxnSpMk id="43" creationId="{37BA6148-EAAC-F3CC-03A4-66F28A9CAF29}"/>
          </ac:cxnSpMkLst>
        </pc:cxnChg>
        <pc:cxnChg chg="del mod">
          <ac:chgData name="Devraj, Keerthi (DI SW ICS DVT CSF DV FS)" userId="a61e6969-d85e-42d5-913e-c7fe6fb96353" providerId="ADAL" clId="{DDC5853D-AC23-47BD-A462-B07CB2FB084E}" dt="2024-06-07T22:17:02.997" v="7209" actId="478"/>
          <ac:cxnSpMkLst>
            <pc:docMk/>
            <pc:sldMk cId="2507202493" sldId="1248"/>
            <ac:cxnSpMk id="46" creationId="{03C404FC-6B86-3ECE-643C-771AD6549E6D}"/>
          </ac:cxnSpMkLst>
        </pc:cxnChg>
        <pc:cxnChg chg="del mod">
          <ac:chgData name="Devraj, Keerthi (DI SW ICS DVT CSF DV FS)" userId="a61e6969-d85e-42d5-913e-c7fe6fb96353" providerId="ADAL" clId="{DDC5853D-AC23-47BD-A462-B07CB2FB084E}" dt="2024-06-07T22:17:02.197" v="7208" actId="478"/>
          <ac:cxnSpMkLst>
            <pc:docMk/>
            <pc:sldMk cId="2507202493" sldId="1248"/>
            <ac:cxnSpMk id="49" creationId="{7CA9CAEF-6D98-8F63-8A06-4BE5AE283D8B}"/>
          </ac:cxnSpMkLst>
        </pc:cxnChg>
        <pc:cxnChg chg="del mod">
          <ac:chgData name="Devraj, Keerthi (DI SW ICS DVT CSF DV FS)" userId="a61e6969-d85e-42d5-913e-c7fe6fb96353" providerId="ADAL" clId="{DDC5853D-AC23-47BD-A462-B07CB2FB084E}" dt="2024-06-07T22:17:00.997" v="7207" actId="478"/>
          <ac:cxnSpMkLst>
            <pc:docMk/>
            <pc:sldMk cId="2507202493" sldId="1248"/>
            <ac:cxnSpMk id="52" creationId="{1A69E1A2-1F89-282D-177A-ED45285BF683}"/>
          </ac:cxnSpMkLst>
        </pc:cxnChg>
        <pc:cxnChg chg="del mod">
          <ac:chgData name="Devraj, Keerthi (DI SW ICS DVT CSF DV FS)" userId="a61e6969-d85e-42d5-913e-c7fe6fb96353" providerId="ADAL" clId="{DDC5853D-AC23-47BD-A462-B07CB2FB084E}" dt="2024-06-07T22:16:59.621" v="7206" actId="478"/>
          <ac:cxnSpMkLst>
            <pc:docMk/>
            <pc:sldMk cId="2507202493" sldId="1248"/>
            <ac:cxnSpMk id="55" creationId="{CD8ED607-8DDD-B594-6B97-4F71A2CF45DC}"/>
          </ac:cxnSpMkLst>
        </pc:cxnChg>
        <pc:cxnChg chg="del">
          <ac:chgData name="Devraj, Keerthi (DI SW ICS DVT CSF DV FS)" userId="a61e6969-d85e-42d5-913e-c7fe6fb96353" providerId="ADAL" clId="{DDC5853D-AC23-47BD-A462-B07CB2FB084E}" dt="2024-06-07T22:17:10.678" v="7217" actId="478"/>
          <ac:cxnSpMkLst>
            <pc:docMk/>
            <pc:sldMk cId="2507202493" sldId="1248"/>
            <ac:cxnSpMk id="62" creationId="{C50C0809-7F36-57A4-4735-938FD3D1BF4F}"/>
          </ac:cxnSpMkLst>
        </pc:cxnChg>
      </pc:sldChg>
      <pc:sldChg chg="modSp add mod ord">
        <pc:chgData name="Devraj, Keerthi (DI SW ICS DVT CSF DV FS)" userId="a61e6969-d85e-42d5-913e-c7fe6fb96353" providerId="ADAL" clId="{DDC5853D-AC23-47BD-A462-B07CB2FB084E}" dt="2024-06-07T22:36:41.532" v="7839" actId="20577"/>
        <pc:sldMkLst>
          <pc:docMk/>
          <pc:sldMk cId="2414575823" sldId="1249"/>
        </pc:sldMkLst>
        <pc:spChg chg="mod">
          <ac:chgData name="Devraj, Keerthi (DI SW ICS DVT CSF DV FS)" userId="a61e6969-d85e-42d5-913e-c7fe6fb96353" providerId="ADAL" clId="{DDC5853D-AC23-47BD-A462-B07CB2FB084E}" dt="2024-06-07T22:33:24.477" v="7777"/>
          <ac:spMkLst>
            <pc:docMk/>
            <pc:sldMk cId="2414575823" sldId="1249"/>
            <ac:spMk id="2" creationId="{30A59CE0-18CE-9447-F486-84039784745F}"/>
          </ac:spMkLst>
        </pc:spChg>
        <pc:graphicFrameChg chg="mod modGraphic">
          <ac:chgData name="Devraj, Keerthi (DI SW ICS DVT CSF DV FS)" userId="a61e6969-d85e-42d5-913e-c7fe6fb96353" providerId="ADAL" clId="{DDC5853D-AC23-47BD-A462-B07CB2FB084E}" dt="2024-06-07T22:36:41.532" v="7839" actId="20577"/>
          <ac:graphicFrameMkLst>
            <pc:docMk/>
            <pc:sldMk cId="2414575823" sldId="1249"/>
            <ac:graphicFrameMk id="6" creationId="{2F542343-22AB-F1FC-5592-6DA92661D455}"/>
          </ac:graphicFrameMkLst>
        </pc:graphicFrameChg>
      </pc:sldChg>
    </pc:docChg>
  </pc:docChgLst>
  <pc:docChgLst>
    <pc:chgData name="Devraj, Keerthi (DI SW ICS ICV OS)" userId="a61e6969-d85e-42d5-913e-c7fe6fb96353" providerId="ADAL" clId="{D647A2E0-F33C-49FA-934C-DBBFA9A485FC}"/>
    <pc:docChg chg="undo redo custSel addSld delSld modSld sldOrd">
      <pc:chgData name="Devraj, Keerthi (DI SW ICS ICV OS)" userId="a61e6969-d85e-42d5-913e-c7fe6fb96353" providerId="ADAL" clId="{D647A2E0-F33C-49FA-934C-DBBFA9A485FC}" dt="2023-03-15T12:06:04.040" v="1181" actId="47"/>
      <pc:docMkLst>
        <pc:docMk/>
      </pc:docMkLst>
      <pc:sldChg chg="modSp mod">
        <pc:chgData name="Devraj, Keerthi (DI SW ICS ICV OS)" userId="a61e6969-d85e-42d5-913e-c7fe6fb96353" providerId="ADAL" clId="{D647A2E0-F33C-49FA-934C-DBBFA9A485FC}" dt="2023-03-15T10:50:10.555" v="10" actId="20577"/>
        <pc:sldMkLst>
          <pc:docMk/>
          <pc:sldMk cId="4047077203" sldId="453"/>
        </pc:sldMkLst>
        <pc:spChg chg="mod">
          <ac:chgData name="Devraj, Keerthi (DI SW ICS ICV OS)" userId="a61e6969-d85e-42d5-913e-c7fe6fb96353" providerId="ADAL" clId="{D647A2E0-F33C-49FA-934C-DBBFA9A485FC}" dt="2023-03-15T10:50:10.555" v="10" actId="20577"/>
          <ac:spMkLst>
            <pc:docMk/>
            <pc:sldMk cId="4047077203" sldId="453"/>
            <ac:spMk id="2" creationId="{3787DCDB-E649-4D88-9AEB-9F963E4B6158}"/>
          </ac:spMkLst>
        </pc:spChg>
      </pc:sldChg>
      <pc:sldChg chg="del">
        <pc:chgData name="Devraj, Keerthi (DI SW ICS ICV OS)" userId="a61e6969-d85e-42d5-913e-c7fe6fb96353" providerId="ADAL" clId="{D647A2E0-F33C-49FA-934C-DBBFA9A485FC}" dt="2023-03-15T12:06:04.040" v="1181" actId="47"/>
        <pc:sldMkLst>
          <pc:docMk/>
          <pc:sldMk cId="3619007553" sldId="481"/>
        </pc:sldMkLst>
      </pc:sldChg>
      <pc:sldChg chg="del">
        <pc:chgData name="Devraj, Keerthi (DI SW ICS ICV OS)" userId="a61e6969-d85e-42d5-913e-c7fe6fb96353" providerId="ADAL" clId="{D647A2E0-F33C-49FA-934C-DBBFA9A485FC}" dt="2023-03-15T12:06:04.040" v="1181" actId="47"/>
        <pc:sldMkLst>
          <pc:docMk/>
          <pc:sldMk cId="2752120086" sldId="482"/>
        </pc:sldMkLst>
      </pc:sldChg>
      <pc:sldChg chg="del">
        <pc:chgData name="Devraj, Keerthi (DI SW ICS ICV OS)" userId="a61e6969-d85e-42d5-913e-c7fe6fb96353" providerId="ADAL" clId="{D647A2E0-F33C-49FA-934C-DBBFA9A485FC}" dt="2023-03-15T12:06:04.040" v="1181" actId="47"/>
        <pc:sldMkLst>
          <pc:docMk/>
          <pc:sldMk cId="3367072097" sldId="483"/>
        </pc:sldMkLst>
      </pc:sldChg>
      <pc:sldChg chg="del">
        <pc:chgData name="Devraj, Keerthi (DI SW ICS ICV OS)" userId="a61e6969-d85e-42d5-913e-c7fe6fb96353" providerId="ADAL" clId="{D647A2E0-F33C-49FA-934C-DBBFA9A485FC}" dt="2023-03-15T12:06:04.040" v="1181" actId="47"/>
        <pc:sldMkLst>
          <pc:docMk/>
          <pc:sldMk cId="3587494363" sldId="484"/>
        </pc:sldMkLst>
      </pc:sldChg>
      <pc:sldChg chg="add del">
        <pc:chgData name="Devraj, Keerthi (DI SW ICS ICV OS)" userId="a61e6969-d85e-42d5-913e-c7fe6fb96353" providerId="ADAL" clId="{D647A2E0-F33C-49FA-934C-DBBFA9A485FC}" dt="2023-03-15T12:06:04.040" v="1181" actId="47"/>
        <pc:sldMkLst>
          <pc:docMk/>
          <pc:sldMk cId="3046425554" sldId="506"/>
        </pc:sldMkLst>
      </pc:sldChg>
      <pc:sldChg chg="del">
        <pc:chgData name="Devraj, Keerthi (DI SW ICS ICV OS)" userId="a61e6969-d85e-42d5-913e-c7fe6fb96353" providerId="ADAL" clId="{D647A2E0-F33C-49FA-934C-DBBFA9A485FC}" dt="2023-03-15T12:06:04.040" v="1181" actId="47"/>
        <pc:sldMkLst>
          <pc:docMk/>
          <pc:sldMk cId="1977688736" sldId="1173"/>
        </pc:sldMkLst>
      </pc:sldChg>
      <pc:sldChg chg="del">
        <pc:chgData name="Devraj, Keerthi (DI SW ICS ICV OS)" userId="a61e6969-d85e-42d5-913e-c7fe6fb96353" providerId="ADAL" clId="{D647A2E0-F33C-49FA-934C-DBBFA9A485FC}" dt="2023-03-15T10:49:52.105" v="0" actId="47"/>
        <pc:sldMkLst>
          <pc:docMk/>
          <pc:sldMk cId="805770855" sldId="1174"/>
        </pc:sldMkLst>
      </pc:sldChg>
      <pc:sldChg chg="addSp delSp modSp new mod">
        <pc:chgData name="Devraj, Keerthi (DI SW ICS ICV OS)" userId="a61e6969-d85e-42d5-913e-c7fe6fb96353" providerId="ADAL" clId="{D647A2E0-F33C-49FA-934C-DBBFA9A485FC}" dt="2023-03-15T11:58:13.360" v="1106" actId="1076"/>
        <pc:sldMkLst>
          <pc:docMk/>
          <pc:sldMk cId="4226669685" sldId="1174"/>
        </pc:sldMkLst>
        <pc:spChg chg="mod">
          <ac:chgData name="Devraj, Keerthi (DI SW ICS ICV OS)" userId="a61e6969-d85e-42d5-913e-c7fe6fb96353" providerId="ADAL" clId="{D647A2E0-F33C-49FA-934C-DBBFA9A485FC}" dt="2023-03-15T11:08:04" v="27" actId="403"/>
          <ac:spMkLst>
            <pc:docMk/>
            <pc:sldMk cId="4226669685" sldId="1174"/>
            <ac:spMk id="2" creationId="{4DE4C822-5737-A56E-B0DD-965DB7754D69}"/>
          </ac:spMkLst>
        </pc:spChg>
        <pc:spChg chg="add del mod">
          <ac:chgData name="Devraj, Keerthi (DI SW ICS ICV OS)" userId="a61e6969-d85e-42d5-913e-c7fe6fb96353" providerId="ADAL" clId="{D647A2E0-F33C-49FA-934C-DBBFA9A485FC}" dt="2023-03-15T11:54:57.016" v="1045" actId="207"/>
          <ac:spMkLst>
            <pc:docMk/>
            <pc:sldMk cId="4226669685" sldId="1174"/>
            <ac:spMk id="4" creationId="{46684745-2989-A45B-3931-8C11E3E2B896}"/>
          </ac:spMkLst>
        </pc:spChg>
        <pc:spChg chg="add del mod">
          <ac:chgData name="Devraj, Keerthi (DI SW ICS ICV OS)" userId="a61e6969-d85e-42d5-913e-c7fe6fb96353" providerId="ADAL" clId="{D647A2E0-F33C-49FA-934C-DBBFA9A485FC}" dt="2023-03-15T11:09:02.380" v="38" actId="11529"/>
          <ac:spMkLst>
            <pc:docMk/>
            <pc:sldMk cId="4226669685" sldId="1174"/>
            <ac:spMk id="5" creationId="{DCE2498F-066F-F34E-6C64-A916F6CF25BE}"/>
          </ac:spMkLst>
        </pc:spChg>
        <pc:spChg chg="add mod">
          <ac:chgData name="Devraj, Keerthi (DI SW ICS ICV OS)" userId="a61e6969-d85e-42d5-913e-c7fe6fb96353" providerId="ADAL" clId="{D647A2E0-F33C-49FA-934C-DBBFA9A485FC}" dt="2023-03-15T11:54:57.016" v="1045" actId="207"/>
          <ac:spMkLst>
            <pc:docMk/>
            <pc:sldMk cId="4226669685" sldId="1174"/>
            <ac:spMk id="6" creationId="{FAB5D30D-30B9-C11E-FA6C-DFE57AB93A6D}"/>
          </ac:spMkLst>
        </pc:spChg>
        <pc:spChg chg="add mod">
          <ac:chgData name="Devraj, Keerthi (DI SW ICS ICV OS)" userId="a61e6969-d85e-42d5-913e-c7fe6fb96353" providerId="ADAL" clId="{D647A2E0-F33C-49FA-934C-DBBFA9A485FC}" dt="2023-03-15T11:54:57.016" v="1045" actId="207"/>
          <ac:spMkLst>
            <pc:docMk/>
            <pc:sldMk cId="4226669685" sldId="1174"/>
            <ac:spMk id="7" creationId="{48DCCAAF-647A-D85A-86BD-70D1B103BFE3}"/>
          </ac:spMkLst>
        </pc:spChg>
        <pc:spChg chg="add mod ord">
          <ac:chgData name="Devraj, Keerthi (DI SW ICS ICV OS)" userId="a61e6969-d85e-42d5-913e-c7fe6fb96353" providerId="ADAL" clId="{D647A2E0-F33C-49FA-934C-DBBFA9A485FC}" dt="2023-03-15T11:54:57.016" v="1045" actId="207"/>
          <ac:spMkLst>
            <pc:docMk/>
            <pc:sldMk cId="4226669685" sldId="1174"/>
            <ac:spMk id="23" creationId="{D4CD5E7F-6093-DB44-F053-8F00CAB013E7}"/>
          </ac:spMkLst>
        </pc:spChg>
        <pc:spChg chg="add mod">
          <ac:chgData name="Devraj, Keerthi (DI SW ICS ICV OS)" userId="a61e6969-d85e-42d5-913e-c7fe6fb96353" providerId="ADAL" clId="{D647A2E0-F33C-49FA-934C-DBBFA9A485FC}" dt="2023-03-15T11:58:09.575" v="1105" actId="1076"/>
          <ac:spMkLst>
            <pc:docMk/>
            <pc:sldMk cId="4226669685" sldId="1174"/>
            <ac:spMk id="29" creationId="{8437B73D-6244-CAF2-C8A3-BA4C68B165F9}"/>
          </ac:spMkLst>
        </pc:spChg>
        <pc:spChg chg="add mod">
          <ac:chgData name="Devraj, Keerthi (DI SW ICS ICV OS)" userId="a61e6969-d85e-42d5-913e-c7fe6fb96353" providerId="ADAL" clId="{D647A2E0-F33C-49FA-934C-DBBFA9A485FC}" dt="2023-03-15T11:58:13.360" v="1106" actId="1076"/>
          <ac:spMkLst>
            <pc:docMk/>
            <pc:sldMk cId="4226669685" sldId="1174"/>
            <ac:spMk id="30" creationId="{31895B92-6E2B-59F5-61B6-62DFE1527A3C}"/>
          </ac:spMkLst>
        </pc:spChg>
        <pc:spChg chg="add mod">
          <ac:chgData name="Devraj, Keerthi (DI SW ICS ICV OS)" userId="a61e6969-d85e-42d5-913e-c7fe6fb96353" providerId="ADAL" clId="{D647A2E0-F33C-49FA-934C-DBBFA9A485FC}" dt="2023-03-15T11:25:52.895" v="715" actId="1038"/>
          <ac:spMkLst>
            <pc:docMk/>
            <pc:sldMk cId="4226669685" sldId="1174"/>
            <ac:spMk id="31" creationId="{F3D12CA6-C2C5-3BA0-E288-05843FD5B77C}"/>
          </ac:spMkLst>
        </pc:spChg>
        <pc:spChg chg="add del mod">
          <ac:chgData name="Devraj, Keerthi (DI SW ICS ICV OS)" userId="a61e6969-d85e-42d5-913e-c7fe6fb96353" providerId="ADAL" clId="{D647A2E0-F33C-49FA-934C-DBBFA9A485FC}" dt="2023-03-15T11:25:47.078" v="701" actId="1037"/>
          <ac:spMkLst>
            <pc:docMk/>
            <pc:sldMk cId="4226669685" sldId="1174"/>
            <ac:spMk id="32" creationId="{56A975AD-34A4-C075-9337-8820CD95951B}"/>
          </ac:spMkLst>
        </pc:spChg>
        <pc:spChg chg="add mod">
          <ac:chgData name="Devraj, Keerthi (DI SW ICS ICV OS)" userId="a61e6969-d85e-42d5-913e-c7fe6fb96353" providerId="ADAL" clId="{D647A2E0-F33C-49FA-934C-DBBFA9A485FC}" dt="2023-03-15T11:55:04.556" v="1046" actId="1076"/>
          <ac:spMkLst>
            <pc:docMk/>
            <pc:sldMk cId="4226669685" sldId="1174"/>
            <ac:spMk id="33" creationId="{1F30404D-7259-B896-588E-6CA3391C2350}"/>
          </ac:spMkLst>
        </pc:spChg>
        <pc:spChg chg="add del mod">
          <ac:chgData name="Devraj, Keerthi (DI SW ICS ICV OS)" userId="a61e6969-d85e-42d5-913e-c7fe6fb96353" providerId="ADAL" clId="{D647A2E0-F33C-49FA-934C-DBBFA9A485FC}" dt="2023-03-15T11:25:02.679" v="667" actId="478"/>
          <ac:spMkLst>
            <pc:docMk/>
            <pc:sldMk cId="4226669685" sldId="1174"/>
            <ac:spMk id="35" creationId="{9036F83E-6373-9302-BDC1-A6257E0611A2}"/>
          </ac:spMkLst>
        </pc:spChg>
        <pc:spChg chg="add mod">
          <ac:chgData name="Devraj, Keerthi (DI SW ICS ICV OS)" userId="a61e6969-d85e-42d5-913e-c7fe6fb96353" providerId="ADAL" clId="{D647A2E0-F33C-49FA-934C-DBBFA9A485FC}" dt="2023-03-15T11:54:57.016" v="1045" actId="207"/>
          <ac:spMkLst>
            <pc:docMk/>
            <pc:sldMk cId="4226669685" sldId="1174"/>
            <ac:spMk id="36" creationId="{D2634535-E64C-A1D1-6FC1-F6252F571235}"/>
          </ac:spMkLst>
        </pc:spChg>
        <pc:spChg chg="add mod">
          <ac:chgData name="Devraj, Keerthi (DI SW ICS ICV OS)" userId="a61e6969-d85e-42d5-913e-c7fe6fb96353" providerId="ADAL" clId="{D647A2E0-F33C-49FA-934C-DBBFA9A485FC}" dt="2023-03-15T11:25:40.422" v="677" actId="1076"/>
          <ac:spMkLst>
            <pc:docMk/>
            <pc:sldMk cId="4226669685" sldId="1174"/>
            <ac:spMk id="37" creationId="{E95859FD-14DA-1738-AA18-DF902F600EDD}"/>
          </ac:spMkLst>
        </pc:spChg>
        <pc:spChg chg="add mod">
          <ac:chgData name="Devraj, Keerthi (DI SW ICS ICV OS)" userId="a61e6969-d85e-42d5-913e-c7fe6fb96353" providerId="ADAL" clId="{D647A2E0-F33C-49FA-934C-DBBFA9A485FC}" dt="2023-03-15T11:55:08.794" v="1047" actId="1076"/>
          <ac:spMkLst>
            <pc:docMk/>
            <pc:sldMk cId="4226669685" sldId="1174"/>
            <ac:spMk id="38" creationId="{21F20DE3-06D6-AE2A-3965-68AB25A5593D}"/>
          </ac:spMkLst>
        </pc:spChg>
        <pc:picChg chg="add mod">
          <ac:chgData name="Devraj, Keerthi (DI SW ICS ICV OS)" userId="a61e6969-d85e-42d5-913e-c7fe6fb96353" providerId="ADAL" clId="{D647A2E0-F33C-49FA-934C-DBBFA9A485FC}" dt="2023-03-15T11:14:49.496" v="307" actId="1036"/>
          <ac:picMkLst>
            <pc:docMk/>
            <pc:sldMk cId="4226669685" sldId="1174"/>
            <ac:picMk id="9" creationId="{C745B0F5-021D-1A23-8D13-F8FBD3E4A655}"/>
          </ac:picMkLst>
        </pc:picChg>
        <pc:picChg chg="add mod">
          <ac:chgData name="Devraj, Keerthi (DI SW ICS ICV OS)" userId="a61e6969-d85e-42d5-913e-c7fe6fb96353" providerId="ADAL" clId="{D647A2E0-F33C-49FA-934C-DBBFA9A485FC}" dt="2023-03-15T11:56:53.052" v="1056" actId="688"/>
          <ac:picMkLst>
            <pc:docMk/>
            <pc:sldMk cId="4226669685" sldId="1174"/>
            <ac:picMk id="44" creationId="{DD9AE794-EBDC-F8F5-C3DC-146ABFE4F88D}"/>
          </ac:picMkLst>
        </pc:picChg>
        <pc:picChg chg="add mod">
          <ac:chgData name="Devraj, Keerthi (DI SW ICS ICV OS)" userId="a61e6969-d85e-42d5-913e-c7fe6fb96353" providerId="ADAL" clId="{D647A2E0-F33C-49FA-934C-DBBFA9A485FC}" dt="2023-03-15T11:57:54.309" v="1085" actId="14100"/>
          <ac:picMkLst>
            <pc:docMk/>
            <pc:sldMk cId="4226669685" sldId="1174"/>
            <ac:picMk id="46" creationId="{46E12423-29A0-5F21-3297-155AFE41FCE5}"/>
          </ac:picMkLst>
        </pc:picChg>
        <pc:cxnChg chg="add mod">
          <ac:chgData name="Devraj, Keerthi (DI SW ICS ICV OS)" userId="a61e6969-d85e-42d5-913e-c7fe6fb96353" providerId="ADAL" clId="{D647A2E0-F33C-49FA-934C-DBBFA9A485FC}" dt="2023-03-15T11:54:48.912" v="1043" actId="1076"/>
          <ac:cxnSpMkLst>
            <pc:docMk/>
            <pc:sldMk cId="4226669685" sldId="1174"/>
            <ac:cxnSpMk id="11" creationId="{41F8147C-1C8F-48DF-15DF-5CC0532AA114}"/>
          </ac:cxnSpMkLst>
        </pc:cxnChg>
        <pc:cxnChg chg="add mod">
          <ac:chgData name="Devraj, Keerthi (DI SW ICS ICV OS)" userId="a61e6969-d85e-42d5-913e-c7fe6fb96353" providerId="ADAL" clId="{D647A2E0-F33C-49FA-934C-DBBFA9A485FC}" dt="2023-03-15T11:54:48.912" v="1043" actId="1076"/>
          <ac:cxnSpMkLst>
            <pc:docMk/>
            <pc:sldMk cId="4226669685" sldId="1174"/>
            <ac:cxnSpMk id="14" creationId="{471FC8A1-4BF5-60B9-A26E-F2FA328A365E}"/>
          </ac:cxnSpMkLst>
        </pc:cxnChg>
        <pc:cxnChg chg="add mod">
          <ac:chgData name="Devraj, Keerthi (DI SW ICS ICV OS)" userId="a61e6969-d85e-42d5-913e-c7fe6fb96353" providerId="ADAL" clId="{D647A2E0-F33C-49FA-934C-DBBFA9A485FC}" dt="2023-03-15T11:15:14.900" v="313" actId="208"/>
          <ac:cxnSpMkLst>
            <pc:docMk/>
            <pc:sldMk cId="4226669685" sldId="1174"/>
            <ac:cxnSpMk id="15" creationId="{3F41B5EC-93D1-E79E-5BF8-10EEE2A02314}"/>
          </ac:cxnSpMkLst>
        </pc:cxnChg>
        <pc:cxnChg chg="add del mod">
          <ac:chgData name="Devraj, Keerthi (DI SW ICS ICV OS)" userId="a61e6969-d85e-42d5-913e-c7fe6fb96353" providerId="ADAL" clId="{D647A2E0-F33C-49FA-934C-DBBFA9A485FC}" dt="2023-03-15T11:14:06.215" v="212"/>
          <ac:cxnSpMkLst>
            <pc:docMk/>
            <pc:sldMk cId="4226669685" sldId="1174"/>
            <ac:cxnSpMk id="16" creationId="{F2B228EB-B830-5236-233F-A415AFCD8B5B}"/>
          </ac:cxnSpMkLst>
        </pc:cxnChg>
        <pc:cxnChg chg="add mod">
          <ac:chgData name="Devraj, Keerthi (DI SW ICS ICV OS)" userId="a61e6969-d85e-42d5-913e-c7fe6fb96353" providerId="ADAL" clId="{D647A2E0-F33C-49FA-934C-DBBFA9A485FC}" dt="2023-03-15T11:20:39.980" v="555" actId="1035"/>
          <ac:cxnSpMkLst>
            <pc:docMk/>
            <pc:sldMk cId="4226669685" sldId="1174"/>
            <ac:cxnSpMk id="25" creationId="{77805570-0793-E85E-9407-004A6C76D0C5}"/>
          </ac:cxnSpMkLst>
        </pc:cxnChg>
        <pc:cxnChg chg="add mod">
          <ac:chgData name="Devraj, Keerthi (DI SW ICS ICV OS)" userId="a61e6969-d85e-42d5-913e-c7fe6fb96353" providerId="ADAL" clId="{D647A2E0-F33C-49FA-934C-DBBFA9A485FC}" dt="2023-03-15T11:20:43.771" v="557" actId="1076"/>
          <ac:cxnSpMkLst>
            <pc:docMk/>
            <pc:sldMk cId="4226669685" sldId="1174"/>
            <ac:cxnSpMk id="28" creationId="{9307DEF8-454D-3718-D509-7540BEA55B31}"/>
          </ac:cxnSpMkLst>
        </pc:cxnChg>
      </pc:sldChg>
      <pc:sldChg chg="addSp delSp modSp new mod ord">
        <pc:chgData name="Devraj, Keerthi (DI SW ICS ICV OS)" userId="a61e6969-d85e-42d5-913e-c7fe6fb96353" providerId="ADAL" clId="{D647A2E0-F33C-49FA-934C-DBBFA9A485FC}" dt="2023-03-15T11:49:56.955" v="937" actId="6549"/>
        <pc:sldMkLst>
          <pc:docMk/>
          <pc:sldMk cId="2941114977" sldId="1175"/>
        </pc:sldMkLst>
        <pc:spChg chg="mod">
          <ac:chgData name="Devraj, Keerthi (DI SW ICS ICV OS)" userId="a61e6969-d85e-42d5-913e-c7fe6fb96353" providerId="ADAL" clId="{D647A2E0-F33C-49FA-934C-DBBFA9A485FC}" dt="2023-03-15T11:49:56.955" v="937" actId="6549"/>
          <ac:spMkLst>
            <pc:docMk/>
            <pc:sldMk cId="2941114977" sldId="1175"/>
            <ac:spMk id="2" creationId="{BA828847-7DA9-AC90-3781-B609A22248F8}"/>
          </ac:spMkLst>
        </pc:spChg>
        <pc:spChg chg="mod topLvl">
          <ac:chgData name="Devraj, Keerthi (DI SW ICS ICV OS)" userId="a61e6969-d85e-42d5-913e-c7fe6fb96353" providerId="ADAL" clId="{D647A2E0-F33C-49FA-934C-DBBFA9A485FC}" dt="2023-03-15T11:49:04.360" v="910" actId="6549"/>
          <ac:spMkLst>
            <pc:docMk/>
            <pc:sldMk cId="2941114977" sldId="1175"/>
            <ac:spMk id="5" creationId="{2590B9C8-AE9B-53C9-DA84-359262ECC073}"/>
          </ac:spMkLst>
        </pc:spChg>
        <pc:spChg chg="mod topLvl">
          <ac:chgData name="Devraj, Keerthi (DI SW ICS ICV OS)" userId="a61e6969-d85e-42d5-913e-c7fe6fb96353" providerId="ADAL" clId="{D647A2E0-F33C-49FA-934C-DBBFA9A485FC}" dt="2023-03-15T11:29:53.717" v="795" actId="165"/>
          <ac:spMkLst>
            <pc:docMk/>
            <pc:sldMk cId="2941114977" sldId="1175"/>
            <ac:spMk id="6" creationId="{0333D559-9610-8FD9-B447-4735D74671C2}"/>
          </ac:spMkLst>
        </pc:spChg>
        <pc:spChg chg="mod topLvl">
          <ac:chgData name="Devraj, Keerthi (DI SW ICS ICV OS)" userId="a61e6969-d85e-42d5-913e-c7fe6fb96353" providerId="ADAL" clId="{D647A2E0-F33C-49FA-934C-DBBFA9A485FC}" dt="2023-03-15T11:29:53.717" v="795" actId="165"/>
          <ac:spMkLst>
            <pc:docMk/>
            <pc:sldMk cId="2941114977" sldId="1175"/>
            <ac:spMk id="7" creationId="{05122DCC-CD9D-94B5-810C-81C8F1DCC12E}"/>
          </ac:spMkLst>
        </pc:spChg>
        <pc:spChg chg="mod topLvl">
          <ac:chgData name="Devraj, Keerthi (DI SW ICS ICV OS)" userId="a61e6969-d85e-42d5-913e-c7fe6fb96353" providerId="ADAL" clId="{D647A2E0-F33C-49FA-934C-DBBFA9A485FC}" dt="2023-03-15T11:29:53.717" v="795" actId="165"/>
          <ac:spMkLst>
            <pc:docMk/>
            <pc:sldMk cId="2941114977" sldId="1175"/>
            <ac:spMk id="8" creationId="{D9FD76EF-D61F-E7A5-5566-71045E59A484}"/>
          </ac:spMkLst>
        </pc:spChg>
        <pc:spChg chg="mod topLvl">
          <ac:chgData name="Devraj, Keerthi (DI SW ICS ICV OS)" userId="a61e6969-d85e-42d5-913e-c7fe6fb96353" providerId="ADAL" clId="{D647A2E0-F33C-49FA-934C-DBBFA9A485FC}" dt="2023-03-15T11:29:53.717" v="795" actId="165"/>
          <ac:spMkLst>
            <pc:docMk/>
            <pc:sldMk cId="2941114977" sldId="1175"/>
            <ac:spMk id="9" creationId="{95C7504E-765E-5CEC-B769-CDA2E0523458}"/>
          </ac:spMkLst>
        </pc:spChg>
        <pc:spChg chg="mod topLvl">
          <ac:chgData name="Devraj, Keerthi (DI SW ICS ICV OS)" userId="a61e6969-d85e-42d5-913e-c7fe6fb96353" providerId="ADAL" clId="{D647A2E0-F33C-49FA-934C-DBBFA9A485FC}" dt="2023-03-15T11:29:53.717" v="795" actId="165"/>
          <ac:spMkLst>
            <pc:docMk/>
            <pc:sldMk cId="2941114977" sldId="1175"/>
            <ac:spMk id="10" creationId="{853BE1C7-8027-D97B-F402-D5A3D3676DD5}"/>
          </ac:spMkLst>
        </pc:spChg>
        <pc:spChg chg="mod topLvl">
          <ac:chgData name="Devraj, Keerthi (DI SW ICS ICV OS)" userId="a61e6969-d85e-42d5-913e-c7fe6fb96353" providerId="ADAL" clId="{D647A2E0-F33C-49FA-934C-DBBFA9A485FC}" dt="2023-03-15T11:29:53.717" v="795" actId="165"/>
          <ac:spMkLst>
            <pc:docMk/>
            <pc:sldMk cId="2941114977" sldId="1175"/>
            <ac:spMk id="15" creationId="{EF898192-F04B-7EF1-F587-C7AD5C672908}"/>
          </ac:spMkLst>
        </pc:spChg>
        <pc:spChg chg="mod topLvl">
          <ac:chgData name="Devraj, Keerthi (DI SW ICS ICV OS)" userId="a61e6969-d85e-42d5-913e-c7fe6fb96353" providerId="ADAL" clId="{D647A2E0-F33C-49FA-934C-DBBFA9A485FC}" dt="2023-03-15T11:29:53.717" v="795" actId="165"/>
          <ac:spMkLst>
            <pc:docMk/>
            <pc:sldMk cId="2941114977" sldId="1175"/>
            <ac:spMk id="16" creationId="{204CA809-8E5F-7D2C-DF2B-D06572535991}"/>
          </ac:spMkLst>
        </pc:spChg>
        <pc:spChg chg="del mod">
          <ac:chgData name="Devraj, Keerthi (DI SW ICS ICV OS)" userId="a61e6969-d85e-42d5-913e-c7fe6fb96353" providerId="ADAL" clId="{D647A2E0-F33C-49FA-934C-DBBFA9A485FC}" dt="2023-03-15T11:29:32.842" v="791" actId="478"/>
          <ac:spMkLst>
            <pc:docMk/>
            <pc:sldMk cId="2941114977" sldId="1175"/>
            <ac:spMk id="19" creationId="{C1A5453A-74F5-3748-2560-0AEA36A50939}"/>
          </ac:spMkLst>
        </pc:spChg>
        <pc:spChg chg="del mod topLvl">
          <ac:chgData name="Devraj, Keerthi (DI SW ICS ICV OS)" userId="a61e6969-d85e-42d5-913e-c7fe6fb96353" providerId="ADAL" clId="{D647A2E0-F33C-49FA-934C-DBBFA9A485FC}" dt="2023-03-15T11:29:56.549" v="796" actId="478"/>
          <ac:spMkLst>
            <pc:docMk/>
            <pc:sldMk cId="2941114977" sldId="1175"/>
            <ac:spMk id="20" creationId="{13EAE482-DF02-BE40-1994-C5199DA23A03}"/>
          </ac:spMkLst>
        </pc:spChg>
        <pc:spChg chg="mod">
          <ac:chgData name="Devraj, Keerthi (DI SW ICS ICV OS)" userId="a61e6969-d85e-42d5-913e-c7fe6fb96353" providerId="ADAL" clId="{D647A2E0-F33C-49FA-934C-DBBFA9A485FC}" dt="2023-03-15T11:29:53.717" v="795" actId="165"/>
          <ac:spMkLst>
            <pc:docMk/>
            <pc:sldMk cId="2941114977" sldId="1175"/>
            <ac:spMk id="25" creationId="{41E44240-7A4D-C6EA-44B9-0E14F7293CD4}"/>
          </ac:spMkLst>
        </pc:spChg>
        <pc:spChg chg="mod">
          <ac:chgData name="Devraj, Keerthi (DI SW ICS ICV OS)" userId="a61e6969-d85e-42d5-913e-c7fe6fb96353" providerId="ADAL" clId="{D647A2E0-F33C-49FA-934C-DBBFA9A485FC}" dt="2023-03-15T11:29:53.717" v="795" actId="165"/>
          <ac:spMkLst>
            <pc:docMk/>
            <pc:sldMk cId="2941114977" sldId="1175"/>
            <ac:spMk id="26" creationId="{FDA39B98-53F4-4475-50D4-F38F92F77873}"/>
          </ac:spMkLst>
        </pc:spChg>
        <pc:spChg chg="mod">
          <ac:chgData name="Devraj, Keerthi (DI SW ICS ICV OS)" userId="a61e6969-d85e-42d5-913e-c7fe6fb96353" providerId="ADAL" clId="{D647A2E0-F33C-49FA-934C-DBBFA9A485FC}" dt="2023-03-15T11:29:53.717" v="795" actId="165"/>
          <ac:spMkLst>
            <pc:docMk/>
            <pc:sldMk cId="2941114977" sldId="1175"/>
            <ac:spMk id="27" creationId="{52535914-D3A8-DD05-0079-7BD70B034E93}"/>
          </ac:spMkLst>
        </pc:spChg>
        <pc:spChg chg="mod">
          <ac:chgData name="Devraj, Keerthi (DI SW ICS ICV OS)" userId="a61e6969-d85e-42d5-913e-c7fe6fb96353" providerId="ADAL" clId="{D647A2E0-F33C-49FA-934C-DBBFA9A485FC}" dt="2023-03-15T11:29:53.717" v="795" actId="165"/>
          <ac:spMkLst>
            <pc:docMk/>
            <pc:sldMk cId="2941114977" sldId="1175"/>
            <ac:spMk id="35" creationId="{065588D4-E431-3DE7-5C9F-F86AA059B427}"/>
          </ac:spMkLst>
        </pc:spChg>
        <pc:spChg chg="mod">
          <ac:chgData name="Devraj, Keerthi (DI SW ICS ICV OS)" userId="a61e6969-d85e-42d5-913e-c7fe6fb96353" providerId="ADAL" clId="{D647A2E0-F33C-49FA-934C-DBBFA9A485FC}" dt="2023-03-15T11:29:53.717" v="795" actId="165"/>
          <ac:spMkLst>
            <pc:docMk/>
            <pc:sldMk cId="2941114977" sldId="1175"/>
            <ac:spMk id="36" creationId="{15554387-93F2-F034-ABE6-BF1BF7A509C9}"/>
          </ac:spMkLst>
        </pc:spChg>
        <pc:spChg chg="mod">
          <ac:chgData name="Devraj, Keerthi (DI SW ICS ICV OS)" userId="a61e6969-d85e-42d5-913e-c7fe6fb96353" providerId="ADAL" clId="{D647A2E0-F33C-49FA-934C-DBBFA9A485FC}" dt="2023-03-15T11:29:53.717" v="795" actId="165"/>
          <ac:spMkLst>
            <pc:docMk/>
            <pc:sldMk cId="2941114977" sldId="1175"/>
            <ac:spMk id="37" creationId="{B5C31F12-426A-474F-D416-D207E7AA2864}"/>
          </ac:spMkLst>
        </pc:spChg>
        <pc:spChg chg="mod">
          <ac:chgData name="Devraj, Keerthi (DI SW ICS ICV OS)" userId="a61e6969-d85e-42d5-913e-c7fe6fb96353" providerId="ADAL" clId="{D647A2E0-F33C-49FA-934C-DBBFA9A485FC}" dt="2023-03-15T11:29:53.717" v="795" actId="165"/>
          <ac:spMkLst>
            <pc:docMk/>
            <pc:sldMk cId="2941114977" sldId="1175"/>
            <ac:spMk id="38" creationId="{C0871A40-AD94-6B58-D44C-5058DBA7EBDC}"/>
          </ac:spMkLst>
        </pc:spChg>
        <pc:spChg chg="mod">
          <ac:chgData name="Devraj, Keerthi (DI SW ICS ICV OS)" userId="a61e6969-d85e-42d5-913e-c7fe6fb96353" providerId="ADAL" clId="{D647A2E0-F33C-49FA-934C-DBBFA9A485FC}" dt="2023-03-15T11:29:53.717" v="795" actId="165"/>
          <ac:spMkLst>
            <pc:docMk/>
            <pc:sldMk cId="2941114977" sldId="1175"/>
            <ac:spMk id="39" creationId="{59CB8174-3012-92C7-D22B-C57B5934F607}"/>
          </ac:spMkLst>
        </pc:spChg>
        <pc:spChg chg="mod">
          <ac:chgData name="Devraj, Keerthi (DI SW ICS ICV OS)" userId="a61e6969-d85e-42d5-913e-c7fe6fb96353" providerId="ADAL" clId="{D647A2E0-F33C-49FA-934C-DBBFA9A485FC}" dt="2023-03-15T11:29:53.717" v="795" actId="165"/>
          <ac:spMkLst>
            <pc:docMk/>
            <pc:sldMk cId="2941114977" sldId="1175"/>
            <ac:spMk id="47" creationId="{28BC45C5-46A8-E7BF-DEE6-9F3739955E2E}"/>
          </ac:spMkLst>
        </pc:spChg>
        <pc:spChg chg="mod">
          <ac:chgData name="Devraj, Keerthi (DI SW ICS ICV OS)" userId="a61e6969-d85e-42d5-913e-c7fe6fb96353" providerId="ADAL" clId="{D647A2E0-F33C-49FA-934C-DBBFA9A485FC}" dt="2023-03-15T11:29:53.717" v="795" actId="165"/>
          <ac:spMkLst>
            <pc:docMk/>
            <pc:sldMk cId="2941114977" sldId="1175"/>
            <ac:spMk id="48" creationId="{54B9458E-2A06-5041-86B5-60EB710A6B5F}"/>
          </ac:spMkLst>
        </pc:spChg>
        <pc:spChg chg="mod">
          <ac:chgData name="Devraj, Keerthi (DI SW ICS ICV OS)" userId="a61e6969-d85e-42d5-913e-c7fe6fb96353" providerId="ADAL" clId="{D647A2E0-F33C-49FA-934C-DBBFA9A485FC}" dt="2023-03-15T11:29:53.717" v="795" actId="165"/>
          <ac:spMkLst>
            <pc:docMk/>
            <pc:sldMk cId="2941114977" sldId="1175"/>
            <ac:spMk id="49" creationId="{CB1B4983-F88A-B10C-4322-DA846E0DF37A}"/>
          </ac:spMkLst>
        </pc:spChg>
        <pc:spChg chg="mod">
          <ac:chgData name="Devraj, Keerthi (DI SW ICS ICV OS)" userId="a61e6969-d85e-42d5-913e-c7fe6fb96353" providerId="ADAL" clId="{D647A2E0-F33C-49FA-934C-DBBFA9A485FC}" dt="2023-03-15T11:29:53.717" v="795" actId="165"/>
          <ac:spMkLst>
            <pc:docMk/>
            <pc:sldMk cId="2941114977" sldId="1175"/>
            <ac:spMk id="50" creationId="{95B41480-BC4F-89D5-B3D7-1431ABFCC99B}"/>
          </ac:spMkLst>
        </pc:spChg>
        <pc:spChg chg="mod">
          <ac:chgData name="Devraj, Keerthi (DI SW ICS ICV OS)" userId="a61e6969-d85e-42d5-913e-c7fe6fb96353" providerId="ADAL" clId="{D647A2E0-F33C-49FA-934C-DBBFA9A485FC}" dt="2023-03-15T11:29:53.717" v="795" actId="165"/>
          <ac:spMkLst>
            <pc:docMk/>
            <pc:sldMk cId="2941114977" sldId="1175"/>
            <ac:spMk id="51" creationId="{11E5845A-03D1-A02A-A56F-8D93D5506C40}"/>
          </ac:spMkLst>
        </pc:spChg>
        <pc:spChg chg="mod">
          <ac:chgData name="Devraj, Keerthi (DI SW ICS ICV OS)" userId="a61e6969-d85e-42d5-913e-c7fe6fb96353" providerId="ADAL" clId="{D647A2E0-F33C-49FA-934C-DBBFA9A485FC}" dt="2023-03-15T11:29:53.717" v="795" actId="165"/>
          <ac:spMkLst>
            <pc:docMk/>
            <pc:sldMk cId="2941114977" sldId="1175"/>
            <ac:spMk id="59" creationId="{DAD78EBC-2C7B-613F-D9DF-1B5FA2A47986}"/>
          </ac:spMkLst>
        </pc:spChg>
        <pc:spChg chg="mod">
          <ac:chgData name="Devraj, Keerthi (DI SW ICS ICV OS)" userId="a61e6969-d85e-42d5-913e-c7fe6fb96353" providerId="ADAL" clId="{D647A2E0-F33C-49FA-934C-DBBFA9A485FC}" dt="2023-03-15T11:29:53.717" v="795" actId="165"/>
          <ac:spMkLst>
            <pc:docMk/>
            <pc:sldMk cId="2941114977" sldId="1175"/>
            <ac:spMk id="60" creationId="{53DDC740-4173-3C7F-062B-58C4036065D1}"/>
          </ac:spMkLst>
        </pc:spChg>
        <pc:spChg chg="add del mod">
          <ac:chgData name="Devraj, Keerthi (DI SW ICS ICV OS)" userId="a61e6969-d85e-42d5-913e-c7fe6fb96353" providerId="ADAL" clId="{D647A2E0-F33C-49FA-934C-DBBFA9A485FC}" dt="2023-03-15T11:30:01.976" v="797" actId="478"/>
          <ac:spMkLst>
            <pc:docMk/>
            <pc:sldMk cId="2941114977" sldId="1175"/>
            <ac:spMk id="65" creationId="{C01639E0-96DC-C7B0-09EC-76494EAF1349}"/>
          </ac:spMkLst>
        </pc:spChg>
        <pc:spChg chg="add mod">
          <ac:chgData name="Devraj, Keerthi (DI SW ICS ICV OS)" userId="a61e6969-d85e-42d5-913e-c7fe6fb96353" providerId="ADAL" clId="{D647A2E0-F33C-49FA-934C-DBBFA9A485FC}" dt="2023-03-15T11:45:23.986" v="881" actId="20577"/>
          <ac:spMkLst>
            <pc:docMk/>
            <pc:sldMk cId="2941114977" sldId="1175"/>
            <ac:spMk id="67" creationId="{F008CFB5-2BBC-E592-CA75-31B10D2813A6}"/>
          </ac:spMkLst>
        </pc:spChg>
        <pc:grpChg chg="add del mod">
          <ac:chgData name="Devraj, Keerthi (DI SW ICS ICV OS)" userId="a61e6969-d85e-42d5-913e-c7fe6fb96353" providerId="ADAL" clId="{D647A2E0-F33C-49FA-934C-DBBFA9A485FC}" dt="2023-03-15T11:29:53.717" v="795" actId="165"/>
          <ac:grpSpMkLst>
            <pc:docMk/>
            <pc:sldMk cId="2941114977" sldId="1175"/>
            <ac:grpSpMk id="4" creationId="{ABCD3E4A-1118-3A63-63AA-913905543E1D}"/>
          </ac:grpSpMkLst>
        </pc:grpChg>
        <pc:grpChg chg="mod topLvl">
          <ac:chgData name="Devraj, Keerthi (DI SW ICS ICV OS)" userId="a61e6969-d85e-42d5-913e-c7fe6fb96353" providerId="ADAL" clId="{D647A2E0-F33C-49FA-934C-DBBFA9A485FC}" dt="2023-03-15T11:29:53.717" v="795" actId="165"/>
          <ac:grpSpMkLst>
            <pc:docMk/>
            <pc:sldMk cId="2941114977" sldId="1175"/>
            <ac:grpSpMk id="11" creationId="{CFA5C200-0360-E19F-5D7F-27983D3C8D59}"/>
          </ac:grpSpMkLst>
        </pc:grpChg>
        <pc:grpChg chg="mod topLvl">
          <ac:chgData name="Devraj, Keerthi (DI SW ICS ICV OS)" userId="a61e6969-d85e-42d5-913e-c7fe6fb96353" providerId="ADAL" clId="{D647A2E0-F33C-49FA-934C-DBBFA9A485FC}" dt="2023-03-15T11:29:53.717" v="795" actId="165"/>
          <ac:grpSpMkLst>
            <pc:docMk/>
            <pc:sldMk cId="2941114977" sldId="1175"/>
            <ac:grpSpMk id="12" creationId="{BA79C50C-8CE2-ECE7-BCC1-4190DD00D705}"/>
          </ac:grpSpMkLst>
        </pc:grpChg>
        <pc:grpChg chg="mod topLvl">
          <ac:chgData name="Devraj, Keerthi (DI SW ICS ICV OS)" userId="a61e6969-d85e-42d5-913e-c7fe6fb96353" providerId="ADAL" clId="{D647A2E0-F33C-49FA-934C-DBBFA9A485FC}" dt="2023-03-15T11:29:53.717" v="795" actId="165"/>
          <ac:grpSpMkLst>
            <pc:docMk/>
            <pc:sldMk cId="2941114977" sldId="1175"/>
            <ac:grpSpMk id="13" creationId="{14ACE923-0A5B-A5E4-2416-5C9A5691CD17}"/>
          </ac:grpSpMkLst>
        </pc:grpChg>
        <pc:grpChg chg="mod topLvl">
          <ac:chgData name="Devraj, Keerthi (DI SW ICS ICV OS)" userId="a61e6969-d85e-42d5-913e-c7fe6fb96353" providerId="ADAL" clId="{D647A2E0-F33C-49FA-934C-DBBFA9A485FC}" dt="2023-03-15T11:29:53.717" v="795" actId="165"/>
          <ac:grpSpMkLst>
            <pc:docMk/>
            <pc:sldMk cId="2941114977" sldId="1175"/>
            <ac:grpSpMk id="14" creationId="{6E6C3434-09C4-482A-7C76-0A370D8539B5}"/>
          </ac:grpSpMkLst>
        </pc:grpChg>
        <pc:grpChg chg="mod topLvl">
          <ac:chgData name="Devraj, Keerthi (DI SW ICS ICV OS)" userId="a61e6969-d85e-42d5-913e-c7fe6fb96353" providerId="ADAL" clId="{D647A2E0-F33C-49FA-934C-DBBFA9A485FC}" dt="2023-03-15T11:29:53.717" v="795" actId="165"/>
          <ac:grpSpMkLst>
            <pc:docMk/>
            <pc:sldMk cId="2941114977" sldId="1175"/>
            <ac:grpSpMk id="18" creationId="{6DC343E6-5440-37BE-8FDB-892E37240D06}"/>
          </ac:grpSpMkLst>
        </pc:grpChg>
        <pc:grpChg chg="mod">
          <ac:chgData name="Devraj, Keerthi (DI SW ICS ICV OS)" userId="a61e6969-d85e-42d5-913e-c7fe6fb96353" providerId="ADAL" clId="{D647A2E0-F33C-49FA-934C-DBBFA9A485FC}" dt="2023-03-15T11:29:53.717" v="795" actId="165"/>
          <ac:grpSpMkLst>
            <pc:docMk/>
            <pc:sldMk cId="2941114977" sldId="1175"/>
            <ac:grpSpMk id="33" creationId="{1781E7C8-595A-4727-DB14-54E2211B33C9}"/>
          </ac:grpSpMkLst>
        </pc:grpChg>
        <pc:grpChg chg="mod">
          <ac:chgData name="Devraj, Keerthi (DI SW ICS ICV OS)" userId="a61e6969-d85e-42d5-913e-c7fe6fb96353" providerId="ADAL" clId="{D647A2E0-F33C-49FA-934C-DBBFA9A485FC}" dt="2023-03-15T11:29:53.717" v="795" actId="165"/>
          <ac:grpSpMkLst>
            <pc:docMk/>
            <pc:sldMk cId="2941114977" sldId="1175"/>
            <ac:grpSpMk id="45" creationId="{871C5E3B-F424-DCE7-CB5A-4809D45FD88E}"/>
          </ac:grpSpMkLst>
        </pc:grpChg>
        <pc:grpChg chg="mod">
          <ac:chgData name="Devraj, Keerthi (DI SW ICS ICV OS)" userId="a61e6969-d85e-42d5-913e-c7fe6fb96353" providerId="ADAL" clId="{D647A2E0-F33C-49FA-934C-DBBFA9A485FC}" dt="2023-03-15T11:29:53.717" v="795" actId="165"/>
          <ac:grpSpMkLst>
            <pc:docMk/>
            <pc:sldMk cId="2941114977" sldId="1175"/>
            <ac:grpSpMk id="57" creationId="{D9E6AFE4-41DC-6B99-3DF1-1BD5B4654952}"/>
          </ac:grpSpMkLst>
        </pc:grpChg>
        <pc:cxnChg chg="mod topLvl">
          <ac:chgData name="Devraj, Keerthi (DI SW ICS ICV OS)" userId="a61e6969-d85e-42d5-913e-c7fe6fb96353" providerId="ADAL" clId="{D647A2E0-F33C-49FA-934C-DBBFA9A485FC}" dt="2023-03-15T11:29:53.717" v="795" actId="165"/>
          <ac:cxnSpMkLst>
            <pc:docMk/>
            <pc:sldMk cId="2941114977" sldId="1175"/>
            <ac:cxnSpMk id="17" creationId="{91C22052-9481-545A-8030-9746CBB876E6}"/>
          </ac:cxnSpMkLst>
        </pc:cxnChg>
        <pc:cxnChg chg="mod">
          <ac:chgData name="Devraj, Keerthi (DI SW ICS ICV OS)" userId="a61e6969-d85e-42d5-913e-c7fe6fb96353" providerId="ADAL" clId="{D647A2E0-F33C-49FA-934C-DBBFA9A485FC}" dt="2023-03-15T11:29:53.717" v="795" actId="165"/>
          <ac:cxnSpMkLst>
            <pc:docMk/>
            <pc:sldMk cId="2941114977" sldId="1175"/>
            <ac:cxnSpMk id="21" creationId="{165E6149-3A95-58CB-1474-E77F40AA47AF}"/>
          </ac:cxnSpMkLst>
        </pc:cxnChg>
        <pc:cxnChg chg="mod">
          <ac:chgData name="Devraj, Keerthi (DI SW ICS ICV OS)" userId="a61e6969-d85e-42d5-913e-c7fe6fb96353" providerId="ADAL" clId="{D647A2E0-F33C-49FA-934C-DBBFA9A485FC}" dt="2023-03-15T11:29:53.717" v="795" actId="165"/>
          <ac:cxnSpMkLst>
            <pc:docMk/>
            <pc:sldMk cId="2941114977" sldId="1175"/>
            <ac:cxnSpMk id="22" creationId="{565A5AE2-05D8-A468-C3CF-35AC4EA78E1B}"/>
          </ac:cxnSpMkLst>
        </pc:cxnChg>
        <pc:cxnChg chg="mod">
          <ac:chgData name="Devraj, Keerthi (DI SW ICS ICV OS)" userId="a61e6969-d85e-42d5-913e-c7fe6fb96353" providerId="ADAL" clId="{D647A2E0-F33C-49FA-934C-DBBFA9A485FC}" dt="2023-03-15T11:29:53.717" v="795" actId="165"/>
          <ac:cxnSpMkLst>
            <pc:docMk/>
            <pc:sldMk cId="2941114977" sldId="1175"/>
            <ac:cxnSpMk id="23" creationId="{A15423C9-C34D-225A-C684-B31E0B0776F9}"/>
          </ac:cxnSpMkLst>
        </pc:cxnChg>
        <pc:cxnChg chg="mod">
          <ac:chgData name="Devraj, Keerthi (DI SW ICS ICV OS)" userId="a61e6969-d85e-42d5-913e-c7fe6fb96353" providerId="ADAL" clId="{D647A2E0-F33C-49FA-934C-DBBFA9A485FC}" dt="2023-03-15T11:29:53.717" v="795" actId="165"/>
          <ac:cxnSpMkLst>
            <pc:docMk/>
            <pc:sldMk cId="2941114977" sldId="1175"/>
            <ac:cxnSpMk id="24" creationId="{5EE1A034-6511-C03E-896E-AA9D277C0731}"/>
          </ac:cxnSpMkLst>
        </pc:cxnChg>
        <pc:cxnChg chg="mod">
          <ac:chgData name="Devraj, Keerthi (DI SW ICS ICV OS)" userId="a61e6969-d85e-42d5-913e-c7fe6fb96353" providerId="ADAL" clId="{D647A2E0-F33C-49FA-934C-DBBFA9A485FC}" dt="2023-03-15T11:29:53.717" v="795" actId="165"/>
          <ac:cxnSpMkLst>
            <pc:docMk/>
            <pc:sldMk cId="2941114977" sldId="1175"/>
            <ac:cxnSpMk id="28" creationId="{7529920A-C5CA-C2DF-5BEC-81D976472260}"/>
          </ac:cxnSpMkLst>
        </pc:cxnChg>
        <pc:cxnChg chg="mod">
          <ac:chgData name="Devraj, Keerthi (DI SW ICS ICV OS)" userId="a61e6969-d85e-42d5-913e-c7fe6fb96353" providerId="ADAL" clId="{D647A2E0-F33C-49FA-934C-DBBFA9A485FC}" dt="2023-03-15T11:29:53.717" v="795" actId="165"/>
          <ac:cxnSpMkLst>
            <pc:docMk/>
            <pc:sldMk cId="2941114977" sldId="1175"/>
            <ac:cxnSpMk id="29" creationId="{71F1BBE4-F411-B7E8-BD8E-58A98A678F9A}"/>
          </ac:cxnSpMkLst>
        </pc:cxnChg>
        <pc:cxnChg chg="mod">
          <ac:chgData name="Devraj, Keerthi (DI SW ICS ICV OS)" userId="a61e6969-d85e-42d5-913e-c7fe6fb96353" providerId="ADAL" clId="{D647A2E0-F33C-49FA-934C-DBBFA9A485FC}" dt="2023-03-15T11:29:53.717" v="795" actId="165"/>
          <ac:cxnSpMkLst>
            <pc:docMk/>
            <pc:sldMk cId="2941114977" sldId="1175"/>
            <ac:cxnSpMk id="30" creationId="{76441181-6881-6214-217D-CBB9B3C8F2F8}"/>
          </ac:cxnSpMkLst>
        </pc:cxnChg>
        <pc:cxnChg chg="mod">
          <ac:chgData name="Devraj, Keerthi (DI SW ICS ICV OS)" userId="a61e6969-d85e-42d5-913e-c7fe6fb96353" providerId="ADAL" clId="{D647A2E0-F33C-49FA-934C-DBBFA9A485FC}" dt="2023-03-15T11:29:53.717" v="795" actId="165"/>
          <ac:cxnSpMkLst>
            <pc:docMk/>
            <pc:sldMk cId="2941114977" sldId="1175"/>
            <ac:cxnSpMk id="31" creationId="{E3F3EB73-A7DF-B1E4-123A-562400B58DD6}"/>
          </ac:cxnSpMkLst>
        </pc:cxnChg>
        <pc:cxnChg chg="mod">
          <ac:chgData name="Devraj, Keerthi (DI SW ICS ICV OS)" userId="a61e6969-d85e-42d5-913e-c7fe6fb96353" providerId="ADAL" clId="{D647A2E0-F33C-49FA-934C-DBBFA9A485FC}" dt="2023-03-15T11:29:53.717" v="795" actId="165"/>
          <ac:cxnSpMkLst>
            <pc:docMk/>
            <pc:sldMk cId="2941114977" sldId="1175"/>
            <ac:cxnSpMk id="32" creationId="{7AE19DE3-07C3-23C8-3CC4-53F1395E3A3A}"/>
          </ac:cxnSpMkLst>
        </pc:cxnChg>
        <pc:cxnChg chg="mod">
          <ac:chgData name="Devraj, Keerthi (DI SW ICS ICV OS)" userId="a61e6969-d85e-42d5-913e-c7fe6fb96353" providerId="ADAL" clId="{D647A2E0-F33C-49FA-934C-DBBFA9A485FC}" dt="2023-03-15T11:29:53.717" v="795" actId="165"/>
          <ac:cxnSpMkLst>
            <pc:docMk/>
            <pc:sldMk cId="2941114977" sldId="1175"/>
            <ac:cxnSpMk id="34" creationId="{8B189939-CA49-DD41-D67D-7B7A3CB2D579}"/>
          </ac:cxnSpMkLst>
        </pc:cxnChg>
        <pc:cxnChg chg="mod">
          <ac:chgData name="Devraj, Keerthi (DI SW ICS ICV OS)" userId="a61e6969-d85e-42d5-913e-c7fe6fb96353" providerId="ADAL" clId="{D647A2E0-F33C-49FA-934C-DBBFA9A485FC}" dt="2023-03-15T11:29:53.717" v="795" actId="165"/>
          <ac:cxnSpMkLst>
            <pc:docMk/>
            <pc:sldMk cId="2941114977" sldId="1175"/>
            <ac:cxnSpMk id="40" creationId="{5C06A235-7270-9947-8F27-9DF3FB3B5B09}"/>
          </ac:cxnSpMkLst>
        </pc:cxnChg>
        <pc:cxnChg chg="mod">
          <ac:chgData name="Devraj, Keerthi (DI SW ICS ICV OS)" userId="a61e6969-d85e-42d5-913e-c7fe6fb96353" providerId="ADAL" clId="{D647A2E0-F33C-49FA-934C-DBBFA9A485FC}" dt="2023-03-15T11:29:53.717" v="795" actId="165"/>
          <ac:cxnSpMkLst>
            <pc:docMk/>
            <pc:sldMk cId="2941114977" sldId="1175"/>
            <ac:cxnSpMk id="41" creationId="{71C4EA23-5875-3CE3-58AB-A3EC98649D6E}"/>
          </ac:cxnSpMkLst>
        </pc:cxnChg>
        <pc:cxnChg chg="mod">
          <ac:chgData name="Devraj, Keerthi (DI SW ICS ICV OS)" userId="a61e6969-d85e-42d5-913e-c7fe6fb96353" providerId="ADAL" clId="{D647A2E0-F33C-49FA-934C-DBBFA9A485FC}" dt="2023-03-15T11:29:53.717" v="795" actId="165"/>
          <ac:cxnSpMkLst>
            <pc:docMk/>
            <pc:sldMk cId="2941114977" sldId="1175"/>
            <ac:cxnSpMk id="42" creationId="{28156CBA-FC6F-1729-7F66-14AEBCAAF489}"/>
          </ac:cxnSpMkLst>
        </pc:cxnChg>
        <pc:cxnChg chg="mod">
          <ac:chgData name="Devraj, Keerthi (DI SW ICS ICV OS)" userId="a61e6969-d85e-42d5-913e-c7fe6fb96353" providerId="ADAL" clId="{D647A2E0-F33C-49FA-934C-DBBFA9A485FC}" dt="2023-03-15T11:29:53.717" v="795" actId="165"/>
          <ac:cxnSpMkLst>
            <pc:docMk/>
            <pc:sldMk cId="2941114977" sldId="1175"/>
            <ac:cxnSpMk id="43" creationId="{F3F2AF87-6751-6454-E846-8C2F83BCDDC4}"/>
          </ac:cxnSpMkLst>
        </pc:cxnChg>
        <pc:cxnChg chg="mod">
          <ac:chgData name="Devraj, Keerthi (DI SW ICS ICV OS)" userId="a61e6969-d85e-42d5-913e-c7fe6fb96353" providerId="ADAL" clId="{D647A2E0-F33C-49FA-934C-DBBFA9A485FC}" dt="2023-03-15T11:29:53.717" v="795" actId="165"/>
          <ac:cxnSpMkLst>
            <pc:docMk/>
            <pc:sldMk cId="2941114977" sldId="1175"/>
            <ac:cxnSpMk id="44" creationId="{BFFDFCC1-1D2E-2BE4-4415-5EAD93079FE2}"/>
          </ac:cxnSpMkLst>
        </pc:cxnChg>
        <pc:cxnChg chg="mod">
          <ac:chgData name="Devraj, Keerthi (DI SW ICS ICV OS)" userId="a61e6969-d85e-42d5-913e-c7fe6fb96353" providerId="ADAL" clId="{D647A2E0-F33C-49FA-934C-DBBFA9A485FC}" dt="2023-03-15T11:29:53.717" v="795" actId="165"/>
          <ac:cxnSpMkLst>
            <pc:docMk/>
            <pc:sldMk cId="2941114977" sldId="1175"/>
            <ac:cxnSpMk id="46" creationId="{6686E257-295B-E05B-3057-7C7280BE025F}"/>
          </ac:cxnSpMkLst>
        </pc:cxnChg>
        <pc:cxnChg chg="mod">
          <ac:chgData name="Devraj, Keerthi (DI SW ICS ICV OS)" userId="a61e6969-d85e-42d5-913e-c7fe6fb96353" providerId="ADAL" clId="{D647A2E0-F33C-49FA-934C-DBBFA9A485FC}" dt="2023-03-15T11:29:53.717" v="795" actId="165"/>
          <ac:cxnSpMkLst>
            <pc:docMk/>
            <pc:sldMk cId="2941114977" sldId="1175"/>
            <ac:cxnSpMk id="52" creationId="{364AE450-E09A-35AF-27D4-6456D507B554}"/>
          </ac:cxnSpMkLst>
        </pc:cxnChg>
        <pc:cxnChg chg="mod">
          <ac:chgData name="Devraj, Keerthi (DI SW ICS ICV OS)" userId="a61e6969-d85e-42d5-913e-c7fe6fb96353" providerId="ADAL" clId="{D647A2E0-F33C-49FA-934C-DBBFA9A485FC}" dt="2023-03-15T11:29:53.717" v="795" actId="165"/>
          <ac:cxnSpMkLst>
            <pc:docMk/>
            <pc:sldMk cId="2941114977" sldId="1175"/>
            <ac:cxnSpMk id="53" creationId="{24395454-AC00-AD6C-F439-F5903AC3BD04}"/>
          </ac:cxnSpMkLst>
        </pc:cxnChg>
        <pc:cxnChg chg="mod">
          <ac:chgData name="Devraj, Keerthi (DI SW ICS ICV OS)" userId="a61e6969-d85e-42d5-913e-c7fe6fb96353" providerId="ADAL" clId="{D647A2E0-F33C-49FA-934C-DBBFA9A485FC}" dt="2023-03-15T11:29:53.717" v="795" actId="165"/>
          <ac:cxnSpMkLst>
            <pc:docMk/>
            <pc:sldMk cId="2941114977" sldId="1175"/>
            <ac:cxnSpMk id="54" creationId="{62B2AE71-9BB1-3D60-5E65-CB177DBC7170}"/>
          </ac:cxnSpMkLst>
        </pc:cxnChg>
        <pc:cxnChg chg="mod">
          <ac:chgData name="Devraj, Keerthi (DI SW ICS ICV OS)" userId="a61e6969-d85e-42d5-913e-c7fe6fb96353" providerId="ADAL" clId="{D647A2E0-F33C-49FA-934C-DBBFA9A485FC}" dt="2023-03-15T11:29:53.717" v="795" actId="165"/>
          <ac:cxnSpMkLst>
            <pc:docMk/>
            <pc:sldMk cId="2941114977" sldId="1175"/>
            <ac:cxnSpMk id="55" creationId="{4203047B-13A7-E4CC-9FFF-B836864CD631}"/>
          </ac:cxnSpMkLst>
        </pc:cxnChg>
        <pc:cxnChg chg="mod">
          <ac:chgData name="Devraj, Keerthi (DI SW ICS ICV OS)" userId="a61e6969-d85e-42d5-913e-c7fe6fb96353" providerId="ADAL" clId="{D647A2E0-F33C-49FA-934C-DBBFA9A485FC}" dt="2023-03-15T11:29:53.717" v="795" actId="165"/>
          <ac:cxnSpMkLst>
            <pc:docMk/>
            <pc:sldMk cId="2941114977" sldId="1175"/>
            <ac:cxnSpMk id="56" creationId="{455B19B1-7787-AA1A-5A62-2A6F08641159}"/>
          </ac:cxnSpMkLst>
        </pc:cxnChg>
        <pc:cxnChg chg="mod">
          <ac:chgData name="Devraj, Keerthi (DI SW ICS ICV OS)" userId="a61e6969-d85e-42d5-913e-c7fe6fb96353" providerId="ADAL" clId="{D647A2E0-F33C-49FA-934C-DBBFA9A485FC}" dt="2023-03-15T11:29:53.717" v="795" actId="165"/>
          <ac:cxnSpMkLst>
            <pc:docMk/>
            <pc:sldMk cId="2941114977" sldId="1175"/>
            <ac:cxnSpMk id="58" creationId="{779B83CF-E8AC-369C-C5FE-C748767941E8}"/>
          </ac:cxnSpMkLst>
        </pc:cxnChg>
        <pc:cxnChg chg="mod">
          <ac:chgData name="Devraj, Keerthi (DI SW ICS ICV OS)" userId="a61e6969-d85e-42d5-913e-c7fe6fb96353" providerId="ADAL" clId="{D647A2E0-F33C-49FA-934C-DBBFA9A485FC}" dt="2023-03-15T11:29:53.717" v="795" actId="165"/>
          <ac:cxnSpMkLst>
            <pc:docMk/>
            <pc:sldMk cId="2941114977" sldId="1175"/>
            <ac:cxnSpMk id="61" creationId="{62865055-9089-253F-41AF-6F37E15219FE}"/>
          </ac:cxnSpMkLst>
        </pc:cxnChg>
        <pc:cxnChg chg="mod">
          <ac:chgData name="Devraj, Keerthi (DI SW ICS ICV OS)" userId="a61e6969-d85e-42d5-913e-c7fe6fb96353" providerId="ADAL" clId="{D647A2E0-F33C-49FA-934C-DBBFA9A485FC}" dt="2023-03-15T11:29:53.717" v="795" actId="165"/>
          <ac:cxnSpMkLst>
            <pc:docMk/>
            <pc:sldMk cId="2941114977" sldId="1175"/>
            <ac:cxnSpMk id="62" creationId="{24CF6100-AE5D-84C7-CF6B-3D5BF30EE300}"/>
          </ac:cxnSpMkLst>
        </pc:cxnChg>
        <pc:cxnChg chg="mod">
          <ac:chgData name="Devraj, Keerthi (DI SW ICS ICV OS)" userId="a61e6969-d85e-42d5-913e-c7fe6fb96353" providerId="ADAL" clId="{D647A2E0-F33C-49FA-934C-DBBFA9A485FC}" dt="2023-03-15T11:29:53.717" v="795" actId="165"/>
          <ac:cxnSpMkLst>
            <pc:docMk/>
            <pc:sldMk cId="2941114977" sldId="1175"/>
            <ac:cxnSpMk id="63" creationId="{D13C751C-DF7A-1488-A98C-590D925F7971}"/>
          </ac:cxnSpMkLst>
        </pc:cxnChg>
        <pc:cxnChg chg="mod">
          <ac:chgData name="Devraj, Keerthi (DI SW ICS ICV OS)" userId="a61e6969-d85e-42d5-913e-c7fe6fb96353" providerId="ADAL" clId="{D647A2E0-F33C-49FA-934C-DBBFA9A485FC}" dt="2023-03-15T11:29:53.717" v="795" actId="165"/>
          <ac:cxnSpMkLst>
            <pc:docMk/>
            <pc:sldMk cId="2941114977" sldId="1175"/>
            <ac:cxnSpMk id="64" creationId="{115E241A-A465-179F-37B2-63E4828EED02}"/>
          </ac:cxnSpMkLst>
        </pc:cxnChg>
      </pc:sldChg>
      <pc:sldChg chg="del">
        <pc:chgData name="Devraj, Keerthi (DI SW ICS ICV OS)" userId="a61e6969-d85e-42d5-913e-c7fe6fb96353" providerId="ADAL" clId="{D647A2E0-F33C-49FA-934C-DBBFA9A485FC}" dt="2023-03-15T10:49:53.398" v="1" actId="47"/>
        <pc:sldMkLst>
          <pc:docMk/>
          <pc:sldMk cId="4142266071" sldId="1175"/>
        </pc:sldMkLst>
      </pc:sldChg>
      <pc:sldChg chg="modSp add del mod">
        <pc:chgData name="Devraj, Keerthi (DI SW ICS ICV OS)" userId="a61e6969-d85e-42d5-913e-c7fe6fb96353" providerId="ADAL" clId="{D647A2E0-F33C-49FA-934C-DBBFA9A485FC}" dt="2023-03-15T11:51:25.327" v="1014" actId="47"/>
        <pc:sldMkLst>
          <pc:docMk/>
          <pc:sldMk cId="1787785264" sldId="1176"/>
        </pc:sldMkLst>
        <pc:spChg chg="mod">
          <ac:chgData name="Devraj, Keerthi (DI SW ICS ICV OS)" userId="a61e6969-d85e-42d5-913e-c7fe6fb96353" providerId="ADAL" clId="{D647A2E0-F33C-49FA-934C-DBBFA9A485FC}" dt="2023-03-15T11:50:25.321" v="1005" actId="6549"/>
          <ac:spMkLst>
            <pc:docMk/>
            <pc:sldMk cId="1787785264" sldId="1176"/>
            <ac:spMk id="2" creationId="{BA828847-7DA9-AC90-3781-B609A22248F8}"/>
          </ac:spMkLst>
        </pc:spChg>
        <pc:spChg chg="mod">
          <ac:chgData name="Devraj, Keerthi (DI SW ICS ICV OS)" userId="a61e6969-d85e-42d5-913e-c7fe6fb96353" providerId="ADAL" clId="{D647A2E0-F33C-49FA-934C-DBBFA9A485FC}" dt="2023-03-15T11:50:41.811" v="1007" actId="1035"/>
          <ac:spMkLst>
            <pc:docMk/>
            <pc:sldMk cId="1787785264" sldId="1176"/>
            <ac:spMk id="19" creationId="{C1A5453A-74F5-3748-2560-0AEA36A50939}"/>
          </ac:spMkLst>
        </pc:spChg>
      </pc:sldChg>
      <pc:sldChg chg="del">
        <pc:chgData name="Devraj, Keerthi (DI SW ICS ICV OS)" userId="a61e6969-d85e-42d5-913e-c7fe6fb96353" providerId="ADAL" clId="{D647A2E0-F33C-49FA-934C-DBBFA9A485FC}" dt="2023-03-15T10:49:55.394" v="2" actId="47"/>
        <pc:sldMkLst>
          <pc:docMk/>
          <pc:sldMk cId="2403468181" sldId="1177"/>
        </pc:sldMkLst>
      </pc:sldChg>
      <pc:sldChg chg="addSp modSp add mod">
        <pc:chgData name="Devraj, Keerthi (DI SW ICS ICV OS)" userId="a61e6969-d85e-42d5-913e-c7fe6fb96353" providerId="ADAL" clId="{D647A2E0-F33C-49FA-934C-DBBFA9A485FC}" dt="2023-03-15T11:51:17.154" v="1013" actId="1076"/>
        <pc:sldMkLst>
          <pc:docMk/>
          <pc:sldMk cId="2968691683" sldId="1177"/>
        </pc:sldMkLst>
        <pc:spChg chg="add mod">
          <ac:chgData name="Devraj, Keerthi (DI SW ICS ICV OS)" userId="a61e6969-d85e-42d5-913e-c7fe6fb96353" providerId="ADAL" clId="{D647A2E0-F33C-49FA-934C-DBBFA9A485FC}" dt="2023-03-15T11:50:55.415" v="1010" actId="208"/>
          <ac:spMkLst>
            <pc:docMk/>
            <pc:sldMk cId="2968691683" sldId="1177"/>
            <ac:spMk id="4" creationId="{3BCCA62B-F379-FD98-8DB8-4D98842F5FDE}"/>
          </ac:spMkLst>
        </pc:spChg>
        <pc:spChg chg="add mod">
          <ac:chgData name="Devraj, Keerthi (DI SW ICS ICV OS)" userId="a61e6969-d85e-42d5-913e-c7fe6fb96353" providerId="ADAL" clId="{D647A2E0-F33C-49FA-934C-DBBFA9A485FC}" dt="2023-03-15T11:51:17.154" v="1013" actId="1076"/>
          <ac:spMkLst>
            <pc:docMk/>
            <pc:sldMk cId="2968691683" sldId="1177"/>
            <ac:spMk id="19" creationId="{41C9B27C-46C1-A36F-1E64-CE279CB3D891}"/>
          </ac:spMkLst>
        </pc:spChg>
      </pc:sldChg>
      <pc:sldChg chg="addSp delSp modSp add mod">
        <pc:chgData name="Devraj, Keerthi (DI SW ICS ICV OS)" userId="a61e6969-d85e-42d5-913e-c7fe6fb96353" providerId="ADAL" clId="{D647A2E0-F33C-49FA-934C-DBBFA9A485FC}" dt="2023-03-15T12:05:28.524" v="1180" actId="1076"/>
        <pc:sldMkLst>
          <pc:docMk/>
          <pc:sldMk cId="1381069072" sldId="1178"/>
        </pc:sldMkLst>
        <pc:spChg chg="mod">
          <ac:chgData name="Devraj, Keerthi (DI SW ICS ICV OS)" userId="a61e6969-d85e-42d5-913e-c7fe6fb96353" providerId="ADAL" clId="{D647A2E0-F33C-49FA-934C-DBBFA9A485FC}" dt="2023-03-15T11:51:44.934" v="1042" actId="20577"/>
          <ac:spMkLst>
            <pc:docMk/>
            <pc:sldMk cId="1381069072" sldId="1178"/>
            <ac:spMk id="2" creationId="{BA828847-7DA9-AC90-3781-B609A22248F8}"/>
          </ac:spMkLst>
        </pc:spChg>
        <pc:spChg chg="del">
          <ac:chgData name="Devraj, Keerthi (DI SW ICS ICV OS)" userId="a61e6969-d85e-42d5-913e-c7fe6fb96353" providerId="ADAL" clId="{D647A2E0-F33C-49FA-934C-DBBFA9A485FC}" dt="2023-03-15T11:58:23.250" v="1107" actId="478"/>
          <ac:spMkLst>
            <pc:docMk/>
            <pc:sldMk cId="1381069072" sldId="1178"/>
            <ac:spMk id="4" creationId="{3BCCA62B-F379-FD98-8DB8-4D98842F5FDE}"/>
          </ac:spMkLst>
        </pc:spChg>
        <pc:spChg chg="del">
          <ac:chgData name="Devraj, Keerthi (DI SW ICS ICV OS)" userId="a61e6969-d85e-42d5-913e-c7fe6fb96353" providerId="ADAL" clId="{D647A2E0-F33C-49FA-934C-DBBFA9A485FC}" dt="2023-03-15T11:58:26.273" v="1108" actId="478"/>
          <ac:spMkLst>
            <pc:docMk/>
            <pc:sldMk cId="1381069072" sldId="1178"/>
            <ac:spMk id="5" creationId="{2590B9C8-AE9B-53C9-DA84-359262ECC073}"/>
          </ac:spMkLst>
        </pc:spChg>
        <pc:spChg chg="del">
          <ac:chgData name="Devraj, Keerthi (DI SW ICS ICV OS)" userId="a61e6969-d85e-42d5-913e-c7fe6fb96353" providerId="ADAL" clId="{D647A2E0-F33C-49FA-934C-DBBFA9A485FC}" dt="2023-03-15T11:58:23.250" v="1107" actId="478"/>
          <ac:spMkLst>
            <pc:docMk/>
            <pc:sldMk cId="1381069072" sldId="1178"/>
            <ac:spMk id="6" creationId="{0333D559-9610-8FD9-B447-4735D74671C2}"/>
          </ac:spMkLst>
        </pc:spChg>
        <pc:spChg chg="del">
          <ac:chgData name="Devraj, Keerthi (DI SW ICS ICV OS)" userId="a61e6969-d85e-42d5-913e-c7fe6fb96353" providerId="ADAL" clId="{D647A2E0-F33C-49FA-934C-DBBFA9A485FC}" dt="2023-03-15T11:58:23.250" v="1107" actId="478"/>
          <ac:spMkLst>
            <pc:docMk/>
            <pc:sldMk cId="1381069072" sldId="1178"/>
            <ac:spMk id="7" creationId="{05122DCC-CD9D-94B5-810C-81C8F1DCC12E}"/>
          </ac:spMkLst>
        </pc:spChg>
        <pc:spChg chg="del">
          <ac:chgData name="Devraj, Keerthi (DI SW ICS ICV OS)" userId="a61e6969-d85e-42d5-913e-c7fe6fb96353" providerId="ADAL" clId="{D647A2E0-F33C-49FA-934C-DBBFA9A485FC}" dt="2023-03-15T11:58:23.250" v="1107" actId="478"/>
          <ac:spMkLst>
            <pc:docMk/>
            <pc:sldMk cId="1381069072" sldId="1178"/>
            <ac:spMk id="8" creationId="{D9FD76EF-D61F-E7A5-5566-71045E59A484}"/>
          </ac:spMkLst>
        </pc:spChg>
        <pc:spChg chg="del">
          <ac:chgData name="Devraj, Keerthi (DI SW ICS ICV OS)" userId="a61e6969-d85e-42d5-913e-c7fe6fb96353" providerId="ADAL" clId="{D647A2E0-F33C-49FA-934C-DBBFA9A485FC}" dt="2023-03-15T11:58:23.250" v="1107" actId="478"/>
          <ac:spMkLst>
            <pc:docMk/>
            <pc:sldMk cId="1381069072" sldId="1178"/>
            <ac:spMk id="9" creationId="{95C7504E-765E-5CEC-B769-CDA2E0523458}"/>
          </ac:spMkLst>
        </pc:spChg>
        <pc:spChg chg="del">
          <ac:chgData name="Devraj, Keerthi (DI SW ICS ICV OS)" userId="a61e6969-d85e-42d5-913e-c7fe6fb96353" providerId="ADAL" clId="{D647A2E0-F33C-49FA-934C-DBBFA9A485FC}" dt="2023-03-15T11:58:23.250" v="1107" actId="478"/>
          <ac:spMkLst>
            <pc:docMk/>
            <pc:sldMk cId="1381069072" sldId="1178"/>
            <ac:spMk id="10" creationId="{853BE1C7-8027-D97B-F402-D5A3D3676DD5}"/>
          </ac:spMkLst>
        </pc:spChg>
        <pc:spChg chg="del">
          <ac:chgData name="Devraj, Keerthi (DI SW ICS ICV OS)" userId="a61e6969-d85e-42d5-913e-c7fe6fb96353" providerId="ADAL" clId="{D647A2E0-F33C-49FA-934C-DBBFA9A485FC}" dt="2023-03-15T11:58:23.250" v="1107" actId="478"/>
          <ac:spMkLst>
            <pc:docMk/>
            <pc:sldMk cId="1381069072" sldId="1178"/>
            <ac:spMk id="15" creationId="{EF898192-F04B-7EF1-F587-C7AD5C672908}"/>
          </ac:spMkLst>
        </pc:spChg>
        <pc:spChg chg="del">
          <ac:chgData name="Devraj, Keerthi (DI SW ICS ICV OS)" userId="a61e6969-d85e-42d5-913e-c7fe6fb96353" providerId="ADAL" clId="{D647A2E0-F33C-49FA-934C-DBBFA9A485FC}" dt="2023-03-15T11:58:23.250" v="1107" actId="478"/>
          <ac:spMkLst>
            <pc:docMk/>
            <pc:sldMk cId="1381069072" sldId="1178"/>
            <ac:spMk id="16" creationId="{204CA809-8E5F-7D2C-DF2B-D06572535991}"/>
          </ac:spMkLst>
        </pc:spChg>
        <pc:spChg chg="del">
          <ac:chgData name="Devraj, Keerthi (DI SW ICS ICV OS)" userId="a61e6969-d85e-42d5-913e-c7fe6fb96353" providerId="ADAL" clId="{D647A2E0-F33C-49FA-934C-DBBFA9A485FC}" dt="2023-03-15T11:58:23.250" v="1107" actId="478"/>
          <ac:spMkLst>
            <pc:docMk/>
            <pc:sldMk cId="1381069072" sldId="1178"/>
            <ac:spMk id="19" creationId="{41C9B27C-46C1-A36F-1E64-CE279CB3D891}"/>
          </ac:spMkLst>
        </pc:spChg>
        <pc:spChg chg="add mod">
          <ac:chgData name="Devraj, Keerthi (DI SW ICS ICV OS)" userId="a61e6969-d85e-42d5-913e-c7fe6fb96353" providerId="ADAL" clId="{D647A2E0-F33C-49FA-934C-DBBFA9A485FC}" dt="2023-03-15T12:04:22.890" v="1144" actId="207"/>
          <ac:spMkLst>
            <pc:docMk/>
            <pc:sldMk cId="1381069072" sldId="1178"/>
            <ac:spMk id="20" creationId="{FD77CD71-2FB8-9C1C-5DDA-48461FF03F1D}"/>
          </ac:spMkLst>
        </pc:spChg>
        <pc:spChg chg="add mod">
          <ac:chgData name="Devraj, Keerthi (DI SW ICS ICV OS)" userId="a61e6969-d85e-42d5-913e-c7fe6fb96353" providerId="ADAL" clId="{D647A2E0-F33C-49FA-934C-DBBFA9A485FC}" dt="2023-03-15T11:59:14.993" v="1110" actId="1076"/>
          <ac:spMkLst>
            <pc:docMk/>
            <pc:sldMk cId="1381069072" sldId="1178"/>
            <ac:spMk id="65" creationId="{270B437C-17BB-7288-ED17-FB8F2D0D942F}"/>
          </ac:spMkLst>
        </pc:spChg>
        <pc:spChg chg="add mod">
          <ac:chgData name="Devraj, Keerthi (DI SW ICS ICV OS)" userId="a61e6969-d85e-42d5-913e-c7fe6fb96353" providerId="ADAL" clId="{D647A2E0-F33C-49FA-934C-DBBFA9A485FC}" dt="2023-03-15T11:59:14.993" v="1110" actId="1076"/>
          <ac:spMkLst>
            <pc:docMk/>
            <pc:sldMk cId="1381069072" sldId="1178"/>
            <ac:spMk id="66" creationId="{8B5306FC-96C5-9AD5-FB06-3A61D62F2159}"/>
          </ac:spMkLst>
        </pc:spChg>
        <pc:spChg chg="del">
          <ac:chgData name="Devraj, Keerthi (DI SW ICS ICV OS)" userId="a61e6969-d85e-42d5-913e-c7fe6fb96353" providerId="ADAL" clId="{D647A2E0-F33C-49FA-934C-DBBFA9A485FC}" dt="2023-03-15T11:58:23.250" v="1107" actId="478"/>
          <ac:spMkLst>
            <pc:docMk/>
            <pc:sldMk cId="1381069072" sldId="1178"/>
            <ac:spMk id="67" creationId="{F008CFB5-2BBC-E592-CA75-31B10D2813A6}"/>
          </ac:spMkLst>
        </pc:spChg>
        <pc:spChg chg="add mod">
          <ac:chgData name="Devraj, Keerthi (DI SW ICS ICV OS)" userId="a61e6969-d85e-42d5-913e-c7fe6fb96353" providerId="ADAL" clId="{D647A2E0-F33C-49FA-934C-DBBFA9A485FC}" dt="2023-03-15T11:59:14.993" v="1110" actId="1076"/>
          <ac:spMkLst>
            <pc:docMk/>
            <pc:sldMk cId="1381069072" sldId="1178"/>
            <ac:spMk id="68" creationId="{2E863E1E-0350-A563-4CC9-DE23992770E3}"/>
          </ac:spMkLst>
        </pc:spChg>
        <pc:spChg chg="mod">
          <ac:chgData name="Devraj, Keerthi (DI SW ICS ICV OS)" userId="a61e6969-d85e-42d5-913e-c7fe6fb96353" providerId="ADAL" clId="{D647A2E0-F33C-49FA-934C-DBBFA9A485FC}" dt="2023-03-15T11:59:09.763" v="1109"/>
          <ac:spMkLst>
            <pc:docMk/>
            <pc:sldMk cId="1381069072" sldId="1178"/>
            <ac:spMk id="73" creationId="{041DAAE7-8A45-7E64-7ABA-4F0BC1E031C6}"/>
          </ac:spMkLst>
        </pc:spChg>
        <pc:spChg chg="mod">
          <ac:chgData name="Devraj, Keerthi (DI SW ICS ICV OS)" userId="a61e6969-d85e-42d5-913e-c7fe6fb96353" providerId="ADAL" clId="{D647A2E0-F33C-49FA-934C-DBBFA9A485FC}" dt="2023-03-15T11:59:09.763" v="1109"/>
          <ac:spMkLst>
            <pc:docMk/>
            <pc:sldMk cId="1381069072" sldId="1178"/>
            <ac:spMk id="74" creationId="{31A12639-1B4E-3C4E-291E-942F28AF40DF}"/>
          </ac:spMkLst>
        </pc:spChg>
        <pc:spChg chg="mod">
          <ac:chgData name="Devraj, Keerthi (DI SW ICS ICV OS)" userId="a61e6969-d85e-42d5-913e-c7fe6fb96353" providerId="ADAL" clId="{D647A2E0-F33C-49FA-934C-DBBFA9A485FC}" dt="2023-03-15T11:59:09.763" v="1109"/>
          <ac:spMkLst>
            <pc:docMk/>
            <pc:sldMk cId="1381069072" sldId="1178"/>
            <ac:spMk id="75" creationId="{7A2D696F-B99C-B549-7115-E32D4743BAA0}"/>
          </ac:spMkLst>
        </pc:spChg>
        <pc:spChg chg="mod">
          <ac:chgData name="Devraj, Keerthi (DI SW ICS ICV OS)" userId="a61e6969-d85e-42d5-913e-c7fe6fb96353" providerId="ADAL" clId="{D647A2E0-F33C-49FA-934C-DBBFA9A485FC}" dt="2023-03-15T11:59:09.763" v="1109"/>
          <ac:spMkLst>
            <pc:docMk/>
            <pc:sldMk cId="1381069072" sldId="1178"/>
            <ac:spMk id="83" creationId="{FFC19D5E-5551-9D65-25BF-A7940C735067}"/>
          </ac:spMkLst>
        </pc:spChg>
        <pc:spChg chg="mod">
          <ac:chgData name="Devraj, Keerthi (DI SW ICS ICV OS)" userId="a61e6969-d85e-42d5-913e-c7fe6fb96353" providerId="ADAL" clId="{D647A2E0-F33C-49FA-934C-DBBFA9A485FC}" dt="2023-03-15T11:59:09.763" v="1109"/>
          <ac:spMkLst>
            <pc:docMk/>
            <pc:sldMk cId="1381069072" sldId="1178"/>
            <ac:spMk id="84" creationId="{D85184A8-0397-82BF-497A-5E882B473D57}"/>
          </ac:spMkLst>
        </pc:spChg>
        <pc:spChg chg="mod">
          <ac:chgData name="Devraj, Keerthi (DI SW ICS ICV OS)" userId="a61e6969-d85e-42d5-913e-c7fe6fb96353" providerId="ADAL" clId="{D647A2E0-F33C-49FA-934C-DBBFA9A485FC}" dt="2023-03-15T11:59:09.763" v="1109"/>
          <ac:spMkLst>
            <pc:docMk/>
            <pc:sldMk cId="1381069072" sldId="1178"/>
            <ac:spMk id="86" creationId="{9868E179-2152-992D-2273-62CBF2EBC0E8}"/>
          </ac:spMkLst>
        </pc:spChg>
        <pc:spChg chg="mod">
          <ac:chgData name="Devraj, Keerthi (DI SW ICS ICV OS)" userId="a61e6969-d85e-42d5-913e-c7fe6fb96353" providerId="ADAL" clId="{D647A2E0-F33C-49FA-934C-DBBFA9A485FC}" dt="2023-03-15T11:59:09.763" v="1109"/>
          <ac:spMkLst>
            <pc:docMk/>
            <pc:sldMk cId="1381069072" sldId="1178"/>
            <ac:spMk id="87" creationId="{DB9FF1B1-573B-B129-9644-5D838680C947}"/>
          </ac:spMkLst>
        </pc:spChg>
        <pc:spChg chg="mod">
          <ac:chgData name="Devraj, Keerthi (DI SW ICS ICV OS)" userId="a61e6969-d85e-42d5-913e-c7fe6fb96353" providerId="ADAL" clId="{D647A2E0-F33C-49FA-934C-DBBFA9A485FC}" dt="2023-03-15T11:59:09.763" v="1109"/>
          <ac:spMkLst>
            <pc:docMk/>
            <pc:sldMk cId="1381069072" sldId="1178"/>
            <ac:spMk id="88" creationId="{0428A40C-62EA-9425-AEBC-F194ACA5AAEA}"/>
          </ac:spMkLst>
        </pc:spChg>
        <pc:spChg chg="mod">
          <ac:chgData name="Devraj, Keerthi (DI SW ICS ICV OS)" userId="a61e6969-d85e-42d5-913e-c7fe6fb96353" providerId="ADAL" clId="{D647A2E0-F33C-49FA-934C-DBBFA9A485FC}" dt="2023-03-15T11:59:09.763" v="1109"/>
          <ac:spMkLst>
            <pc:docMk/>
            <pc:sldMk cId="1381069072" sldId="1178"/>
            <ac:spMk id="96" creationId="{3551D4ED-057F-2625-1A9A-302223D9FF89}"/>
          </ac:spMkLst>
        </pc:spChg>
        <pc:spChg chg="mod">
          <ac:chgData name="Devraj, Keerthi (DI SW ICS ICV OS)" userId="a61e6969-d85e-42d5-913e-c7fe6fb96353" providerId="ADAL" clId="{D647A2E0-F33C-49FA-934C-DBBFA9A485FC}" dt="2023-03-15T11:59:09.763" v="1109"/>
          <ac:spMkLst>
            <pc:docMk/>
            <pc:sldMk cId="1381069072" sldId="1178"/>
            <ac:spMk id="97" creationId="{CA7BE492-9FC5-3690-C093-EA809D0644B4}"/>
          </ac:spMkLst>
        </pc:spChg>
        <pc:spChg chg="mod">
          <ac:chgData name="Devraj, Keerthi (DI SW ICS ICV OS)" userId="a61e6969-d85e-42d5-913e-c7fe6fb96353" providerId="ADAL" clId="{D647A2E0-F33C-49FA-934C-DBBFA9A485FC}" dt="2023-03-15T11:59:09.763" v="1109"/>
          <ac:spMkLst>
            <pc:docMk/>
            <pc:sldMk cId="1381069072" sldId="1178"/>
            <ac:spMk id="99" creationId="{890DC603-0AFD-DC4B-D8C1-75167F41CBA6}"/>
          </ac:spMkLst>
        </pc:spChg>
        <pc:spChg chg="mod">
          <ac:chgData name="Devraj, Keerthi (DI SW ICS ICV OS)" userId="a61e6969-d85e-42d5-913e-c7fe6fb96353" providerId="ADAL" clId="{D647A2E0-F33C-49FA-934C-DBBFA9A485FC}" dt="2023-03-15T11:59:09.763" v="1109"/>
          <ac:spMkLst>
            <pc:docMk/>
            <pc:sldMk cId="1381069072" sldId="1178"/>
            <ac:spMk id="100" creationId="{A2F3DBE0-13CE-5B50-F207-376384EBAA99}"/>
          </ac:spMkLst>
        </pc:spChg>
        <pc:spChg chg="mod">
          <ac:chgData name="Devraj, Keerthi (DI SW ICS ICV OS)" userId="a61e6969-d85e-42d5-913e-c7fe6fb96353" providerId="ADAL" clId="{D647A2E0-F33C-49FA-934C-DBBFA9A485FC}" dt="2023-03-15T11:59:09.763" v="1109"/>
          <ac:spMkLst>
            <pc:docMk/>
            <pc:sldMk cId="1381069072" sldId="1178"/>
            <ac:spMk id="101" creationId="{B000A6F0-D34D-3024-59DD-06FA62887DB1}"/>
          </ac:spMkLst>
        </pc:spChg>
        <pc:spChg chg="mod">
          <ac:chgData name="Devraj, Keerthi (DI SW ICS ICV OS)" userId="a61e6969-d85e-42d5-913e-c7fe6fb96353" providerId="ADAL" clId="{D647A2E0-F33C-49FA-934C-DBBFA9A485FC}" dt="2023-03-15T11:59:09.763" v="1109"/>
          <ac:spMkLst>
            <pc:docMk/>
            <pc:sldMk cId="1381069072" sldId="1178"/>
            <ac:spMk id="109" creationId="{C1040416-B430-157B-7323-346DD77498A3}"/>
          </ac:spMkLst>
        </pc:spChg>
        <pc:spChg chg="mod">
          <ac:chgData name="Devraj, Keerthi (DI SW ICS ICV OS)" userId="a61e6969-d85e-42d5-913e-c7fe6fb96353" providerId="ADAL" clId="{D647A2E0-F33C-49FA-934C-DBBFA9A485FC}" dt="2023-03-15T11:59:09.763" v="1109"/>
          <ac:spMkLst>
            <pc:docMk/>
            <pc:sldMk cId="1381069072" sldId="1178"/>
            <ac:spMk id="110" creationId="{41555820-44DA-CEE7-26BD-C65DCA4502BC}"/>
          </ac:spMkLst>
        </pc:spChg>
        <pc:spChg chg="add mod">
          <ac:chgData name="Devraj, Keerthi (DI SW ICS ICV OS)" userId="a61e6969-d85e-42d5-913e-c7fe6fb96353" providerId="ADAL" clId="{D647A2E0-F33C-49FA-934C-DBBFA9A485FC}" dt="2023-03-15T12:03:36.121" v="1132" actId="207"/>
          <ac:spMkLst>
            <pc:docMk/>
            <pc:sldMk cId="1381069072" sldId="1178"/>
            <ac:spMk id="120" creationId="{AEACDCF4-E778-60DE-307D-58461FF815AE}"/>
          </ac:spMkLst>
        </pc:spChg>
        <pc:spChg chg="add mod">
          <ac:chgData name="Devraj, Keerthi (DI SW ICS ICV OS)" userId="a61e6969-d85e-42d5-913e-c7fe6fb96353" providerId="ADAL" clId="{D647A2E0-F33C-49FA-934C-DBBFA9A485FC}" dt="2023-03-15T11:59:14.993" v="1110" actId="1076"/>
          <ac:spMkLst>
            <pc:docMk/>
            <pc:sldMk cId="1381069072" sldId="1178"/>
            <ac:spMk id="121" creationId="{D396EEDE-8948-1418-CBAC-4E2A61782DC7}"/>
          </ac:spMkLst>
        </pc:spChg>
        <pc:spChg chg="add mod">
          <ac:chgData name="Devraj, Keerthi (DI SW ICS ICV OS)" userId="a61e6969-d85e-42d5-913e-c7fe6fb96353" providerId="ADAL" clId="{D647A2E0-F33C-49FA-934C-DBBFA9A485FC}" dt="2023-03-15T11:59:14.993" v="1110" actId="1076"/>
          <ac:spMkLst>
            <pc:docMk/>
            <pc:sldMk cId="1381069072" sldId="1178"/>
            <ac:spMk id="122" creationId="{86C8DE78-003D-B280-832C-49DAE2573071}"/>
          </ac:spMkLst>
        </pc:spChg>
        <pc:spChg chg="add mod">
          <ac:chgData name="Devraj, Keerthi (DI SW ICS ICV OS)" userId="a61e6969-d85e-42d5-913e-c7fe6fb96353" providerId="ADAL" clId="{D647A2E0-F33C-49FA-934C-DBBFA9A485FC}" dt="2023-03-15T11:59:14.993" v="1110" actId="1076"/>
          <ac:spMkLst>
            <pc:docMk/>
            <pc:sldMk cId="1381069072" sldId="1178"/>
            <ac:spMk id="123" creationId="{6FF9C2EB-F759-57CA-64C6-E5C9344C7F91}"/>
          </ac:spMkLst>
        </pc:spChg>
        <pc:spChg chg="add mod">
          <ac:chgData name="Devraj, Keerthi (DI SW ICS ICV OS)" userId="a61e6969-d85e-42d5-913e-c7fe6fb96353" providerId="ADAL" clId="{D647A2E0-F33C-49FA-934C-DBBFA9A485FC}" dt="2023-03-15T11:59:14.993" v="1110" actId="1076"/>
          <ac:spMkLst>
            <pc:docMk/>
            <pc:sldMk cId="1381069072" sldId="1178"/>
            <ac:spMk id="124" creationId="{A6373B8B-44AF-82CA-AE52-33A7A6E6597F}"/>
          </ac:spMkLst>
        </pc:spChg>
        <pc:spChg chg="add mod">
          <ac:chgData name="Devraj, Keerthi (DI SW ICS ICV OS)" userId="a61e6969-d85e-42d5-913e-c7fe6fb96353" providerId="ADAL" clId="{D647A2E0-F33C-49FA-934C-DBBFA9A485FC}" dt="2023-03-15T11:59:14.993" v="1110" actId="1076"/>
          <ac:spMkLst>
            <pc:docMk/>
            <pc:sldMk cId="1381069072" sldId="1178"/>
            <ac:spMk id="125" creationId="{D8AE92B7-33D8-FA6C-6E17-8011C1131344}"/>
          </ac:spMkLst>
        </pc:spChg>
        <pc:spChg chg="mod">
          <ac:chgData name="Devraj, Keerthi (DI SW ICS ICV OS)" userId="a61e6969-d85e-42d5-913e-c7fe6fb96353" providerId="ADAL" clId="{D647A2E0-F33C-49FA-934C-DBBFA9A485FC}" dt="2023-03-15T11:59:09.763" v="1109"/>
          <ac:spMkLst>
            <pc:docMk/>
            <pc:sldMk cId="1381069072" sldId="1178"/>
            <ac:spMk id="130" creationId="{A6BF1A88-4936-3C69-924F-6064DFE40B0B}"/>
          </ac:spMkLst>
        </pc:spChg>
        <pc:spChg chg="mod">
          <ac:chgData name="Devraj, Keerthi (DI SW ICS ICV OS)" userId="a61e6969-d85e-42d5-913e-c7fe6fb96353" providerId="ADAL" clId="{D647A2E0-F33C-49FA-934C-DBBFA9A485FC}" dt="2023-03-15T11:59:09.763" v="1109"/>
          <ac:spMkLst>
            <pc:docMk/>
            <pc:sldMk cId="1381069072" sldId="1178"/>
            <ac:spMk id="131" creationId="{637E27AC-6E93-21B7-F546-5AE6D40CC277}"/>
          </ac:spMkLst>
        </pc:spChg>
        <pc:spChg chg="mod">
          <ac:chgData name="Devraj, Keerthi (DI SW ICS ICV OS)" userId="a61e6969-d85e-42d5-913e-c7fe6fb96353" providerId="ADAL" clId="{D647A2E0-F33C-49FA-934C-DBBFA9A485FC}" dt="2023-03-15T11:59:09.763" v="1109"/>
          <ac:spMkLst>
            <pc:docMk/>
            <pc:sldMk cId="1381069072" sldId="1178"/>
            <ac:spMk id="132" creationId="{BE990B4E-71FB-DBD9-C5B5-28D6AAF31577}"/>
          </ac:spMkLst>
        </pc:spChg>
        <pc:spChg chg="mod">
          <ac:chgData name="Devraj, Keerthi (DI SW ICS ICV OS)" userId="a61e6969-d85e-42d5-913e-c7fe6fb96353" providerId="ADAL" clId="{D647A2E0-F33C-49FA-934C-DBBFA9A485FC}" dt="2023-03-15T11:59:09.763" v="1109"/>
          <ac:spMkLst>
            <pc:docMk/>
            <pc:sldMk cId="1381069072" sldId="1178"/>
            <ac:spMk id="140" creationId="{FFD0BC5B-9509-976F-7F7F-57AAF574FAE8}"/>
          </ac:spMkLst>
        </pc:spChg>
        <pc:spChg chg="mod">
          <ac:chgData name="Devraj, Keerthi (DI SW ICS ICV OS)" userId="a61e6969-d85e-42d5-913e-c7fe6fb96353" providerId="ADAL" clId="{D647A2E0-F33C-49FA-934C-DBBFA9A485FC}" dt="2023-03-15T11:59:09.763" v="1109"/>
          <ac:spMkLst>
            <pc:docMk/>
            <pc:sldMk cId="1381069072" sldId="1178"/>
            <ac:spMk id="141" creationId="{7B42EE7C-DC1B-0287-7B7F-B3399D1AC471}"/>
          </ac:spMkLst>
        </pc:spChg>
        <pc:spChg chg="mod">
          <ac:chgData name="Devraj, Keerthi (DI SW ICS ICV OS)" userId="a61e6969-d85e-42d5-913e-c7fe6fb96353" providerId="ADAL" clId="{D647A2E0-F33C-49FA-934C-DBBFA9A485FC}" dt="2023-03-15T11:59:09.763" v="1109"/>
          <ac:spMkLst>
            <pc:docMk/>
            <pc:sldMk cId="1381069072" sldId="1178"/>
            <ac:spMk id="143" creationId="{C77BDF4D-0FAE-A884-E3F6-EA7686D486BE}"/>
          </ac:spMkLst>
        </pc:spChg>
        <pc:spChg chg="mod">
          <ac:chgData name="Devraj, Keerthi (DI SW ICS ICV OS)" userId="a61e6969-d85e-42d5-913e-c7fe6fb96353" providerId="ADAL" clId="{D647A2E0-F33C-49FA-934C-DBBFA9A485FC}" dt="2023-03-15T11:59:09.763" v="1109"/>
          <ac:spMkLst>
            <pc:docMk/>
            <pc:sldMk cId="1381069072" sldId="1178"/>
            <ac:spMk id="144" creationId="{12C22F3D-DC55-10B9-4425-923392D8B256}"/>
          </ac:spMkLst>
        </pc:spChg>
        <pc:spChg chg="mod">
          <ac:chgData name="Devraj, Keerthi (DI SW ICS ICV OS)" userId="a61e6969-d85e-42d5-913e-c7fe6fb96353" providerId="ADAL" clId="{D647A2E0-F33C-49FA-934C-DBBFA9A485FC}" dt="2023-03-15T11:59:09.763" v="1109"/>
          <ac:spMkLst>
            <pc:docMk/>
            <pc:sldMk cId="1381069072" sldId="1178"/>
            <ac:spMk id="145" creationId="{7562DDD0-4489-BCB4-4FE6-275E09EB26EA}"/>
          </ac:spMkLst>
        </pc:spChg>
        <pc:spChg chg="mod">
          <ac:chgData name="Devraj, Keerthi (DI SW ICS ICV OS)" userId="a61e6969-d85e-42d5-913e-c7fe6fb96353" providerId="ADAL" clId="{D647A2E0-F33C-49FA-934C-DBBFA9A485FC}" dt="2023-03-15T11:59:09.763" v="1109"/>
          <ac:spMkLst>
            <pc:docMk/>
            <pc:sldMk cId="1381069072" sldId="1178"/>
            <ac:spMk id="153" creationId="{B15C43E4-53F1-CD26-A7F8-2A8228618400}"/>
          </ac:spMkLst>
        </pc:spChg>
        <pc:spChg chg="mod">
          <ac:chgData name="Devraj, Keerthi (DI SW ICS ICV OS)" userId="a61e6969-d85e-42d5-913e-c7fe6fb96353" providerId="ADAL" clId="{D647A2E0-F33C-49FA-934C-DBBFA9A485FC}" dt="2023-03-15T11:59:09.763" v="1109"/>
          <ac:spMkLst>
            <pc:docMk/>
            <pc:sldMk cId="1381069072" sldId="1178"/>
            <ac:spMk id="154" creationId="{15EFF833-86E1-8969-7B17-A3F5201367BE}"/>
          </ac:spMkLst>
        </pc:spChg>
        <pc:spChg chg="mod">
          <ac:chgData name="Devraj, Keerthi (DI SW ICS ICV OS)" userId="a61e6969-d85e-42d5-913e-c7fe6fb96353" providerId="ADAL" clId="{D647A2E0-F33C-49FA-934C-DBBFA9A485FC}" dt="2023-03-15T11:59:09.763" v="1109"/>
          <ac:spMkLst>
            <pc:docMk/>
            <pc:sldMk cId="1381069072" sldId="1178"/>
            <ac:spMk id="156" creationId="{A981F3A8-3FED-2787-4108-7BF31014CCA6}"/>
          </ac:spMkLst>
        </pc:spChg>
        <pc:spChg chg="mod">
          <ac:chgData name="Devraj, Keerthi (DI SW ICS ICV OS)" userId="a61e6969-d85e-42d5-913e-c7fe6fb96353" providerId="ADAL" clId="{D647A2E0-F33C-49FA-934C-DBBFA9A485FC}" dt="2023-03-15T11:59:09.763" v="1109"/>
          <ac:spMkLst>
            <pc:docMk/>
            <pc:sldMk cId="1381069072" sldId="1178"/>
            <ac:spMk id="157" creationId="{D2F1D5F1-BA74-25E6-948D-B9D4F4E3B152}"/>
          </ac:spMkLst>
        </pc:spChg>
        <pc:spChg chg="mod">
          <ac:chgData name="Devraj, Keerthi (DI SW ICS ICV OS)" userId="a61e6969-d85e-42d5-913e-c7fe6fb96353" providerId="ADAL" clId="{D647A2E0-F33C-49FA-934C-DBBFA9A485FC}" dt="2023-03-15T11:59:09.763" v="1109"/>
          <ac:spMkLst>
            <pc:docMk/>
            <pc:sldMk cId="1381069072" sldId="1178"/>
            <ac:spMk id="158" creationId="{DF0E163C-8808-214B-D744-793AB8D1085D}"/>
          </ac:spMkLst>
        </pc:spChg>
        <pc:spChg chg="mod">
          <ac:chgData name="Devraj, Keerthi (DI SW ICS ICV OS)" userId="a61e6969-d85e-42d5-913e-c7fe6fb96353" providerId="ADAL" clId="{D647A2E0-F33C-49FA-934C-DBBFA9A485FC}" dt="2023-03-15T11:59:09.763" v="1109"/>
          <ac:spMkLst>
            <pc:docMk/>
            <pc:sldMk cId="1381069072" sldId="1178"/>
            <ac:spMk id="166" creationId="{E86C054A-0329-A710-9639-42CD16F25CFE}"/>
          </ac:spMkLst>
        </pc:spChg>
        <pc:spChg chg="mod">
          <ac:chgData name="Devraj, Keerthi (DI SW ICS ICV OS)" userId="a61e6969-d85e-42d5-913e-c7fe6fb96353" providerId="ADAL" clId="{D647A2E0-F33C-49FA-934C-DBBFA9A485FC}" dt="2023-03-15T11:59:09.763" v="1109"/>
          <ac:spMkLst>
            <pc:docMk/>
            <pc:sldMk cId="1381069072" sldId="1178"/>
            <ac:spMk id="167" creationId="{B508EA4B-6A30-FCC6-71BE-48630447D582}"/>
          </ac:spMkLst>
        </pc:spChg>
        <pc:spChg chg="add mod">
          <ac:chgData name="Devraj, Keerthi (DI SW ICS ICV OS)" userId="a61e6969-d85e-42d5-913e-c7fe6fb96353" providerId="ADAL" clId="{D647A2E0-F33C-49FA-934C-DBBFA9A485FC}" dt="2023-03-15T11:59:51.312" v="1116" actId="208"/>
          <ac:spMkLst>
            <pc:docMk/>
            <pc:sldMk cId="1381069072" sldId="1178"/>
            <ac:spMk id="181" creationId="{C43B0807-BA8A-A0C7-9F8A-35079468BA28}"/>
          </ac:spMkLst>
        </pc:spChg>
        <pc:spChg chg="add mod">
          <ac:chgData name="Devraj, Keerthi (DI SW ICS ICV OS)" userId="a61e6969-d85e-42d5-913e-c7fe6fb96353" providerId="ADAL" clId="{D647A2E0-F33C-49FA-934C-DBBFA9A485FC}" dt="2023-03-15T11:59:47.494" v="1115" actId="208"/>
          <ac:spMkLst>
            <pc:docMk/>
            <pc:sldMk cId="1381069072" sldId="1178"/>
            <ac:spMk id="182" creationId="{1D909ECE-730F-643D-8C42-42E65E0DAB98}"/>
          </ac:spMkLst>
        </pc:spChg>
        <pc:spChg chg="add mod">
          <ac:chgData name="Devraj, Keerthi (DI SW ICS ICV OS)" userId="a61e6969-d85e-42d5-913e-c7fe6fb96353" providerId="ADAL" clId="{D647A2E0-F33C-49FA-934C-DBBFA9A485FC}" dt="2023-03-15T11:59:54.627" v="1117" actId="208"/>
          <ac:spMkLst>
            <pc:docMk/>
            <pc:sldMk cId="1381069072" sldId="1178"/>
            <ac:spMk id="183" creationId="{F174D117-BD20-B724-A2AA-6C0DC179F333}"/>
          </ac:spMkLst>
        </pc:spChg>
        <pc:spChg chg="add mod">
          <ac:chgData name="Devraj, Keerthi (DI SW ICS ICV OS)" userId="a61e6969-d85e-42d5-913e-c7fe6fb96353" providerId="ADAL" clId="{D647A2E0-F33C-49FA-934C-DBBFA9A485FC}" dt="2023-03-15T11:59:58.210" v="1118" actId="207"/>
          <ac:spMkLst>
            <pc:docMk/>
            <pc:sldMk cId="1381069072" sldId="1178"/>
            <ac:spMk id="184" creationId="{1877C9E3-B564-C514-164D-A419C6DB8F2F}"/>
          </ac:spMkLst>
        </pc:spChg>
        <pc:spChg chg="add mod">
          <ac:chgData name="Devraj, Keerthi (DI SW ICS ICV OS)" userId="a61e6969-d85e-42d5-913e-c7fe6fb96353" providerId="ADAL" clId="{D647A2E0-F33C-49FA-934C-DBBFA9A485FC}" dt="2023-03-15T12:05:05.142" v="1178" actId="1076"/>
          <ac:spMkLst>
            <pc:docMk/>
            <pc:sldMk cId="1381069072" sldId="1178"/>
            <ac:spMk id="185" creationId="{C4526211-1541-4079-4688-706BB3243F9F}"/>
          </ac:spMkLst>
        </pc:spChg>
        <pc:spChg chg="add mod">
          <ac:chgData name="Devraj, Keerthi (DI SW ICS ICV OS)" userId="a61e6969-d85e-42d5-913e-c7fe6fb96353" providerId="ADAL" clId="{D647A2E0-F33C-49FA-934C-DBBFA9A485FC}" dt="2023-03-15T12:05:05.142" v="1178" actId="1076"/>
          <ac:spMkLst>
            <pc:docMk/>
            <pc:sldMk cId="1381069072" sldId="1178"/>
            <ac:spMk id="186" creationId="{3366FF8A-81C6-2ADA-DF4E-E4CF51485F39}"/>
          </ac:spMkLst>
        </pc:spChg>
        <pc:spChg chg="add mod">
          <ac:chgData name="Devraj, Keerthi (DI SW ICS ICV OS)" userId="a61e6969-d85e-42d5-913e-c7fe6fb96353" providerId="ADAL" clId="{D647A2E0-F33C-49FA-934C-DBBFA9A485FC}" dt="2023-03-15T12:04:57.974" v="1177" actId="1076"/>
          <ac:spMkLst>
            <pc:docMk/>
            <pc:sldMk cId="1381069072" sldId="1178"/>
            <ac:spMk id="187" creationId="{8DA7D651-4A1B-40E2-9A7F-66ADD234069A}"/>
          </ac:spMkLst>
        </pc:spChg>
        <pc:spChg chg="add del mod">
          <ac:chgData name="Devraj, Keerthi (DI SW ICS ICV OS)" userId="a61e6969-d85e-42d5-913e-c7fe6fb96353" providerId="ADAL" clId="{D647A2E0-F33C-49FA-934C-DBBFA9A485FC}" dt="2023-03-15T12:04:57.974" v="1177" actId="1076"/>
          <ac:spMkLst>
            <pc:docMk/>
            <pc:sldMk cId="1381069072" sldId="1178"/>
            <ac:spMk id="188" creationId="{D05EA63C-EF49-3A67-BD7B-35C5B787CEB5}"/>
          </ac:spMkLst>
        </pc:spChg>
        <pc:spChg chg="add del mod">
          <ac:chgData name="Devraj, Keerthi (DI SW ICS ICV OS)" userId="a61e6969-d85e-42d5-913e-c7fe6fb96353" providerId="ADAL" clId="{D647A2E0-F33C-49FA-934C-DBBFA9A485FC}" dt="2023-03-15T12:04:49.590" v="1176" actId="1076"/>
          <ac:spMkLst>
            <pc:docMk/>
            <pc:sldMk cId="1381069072" sldId="1178"/>
            <ac:spMk id="189" creationId="{B2E16EFB-C307-DFCB-8A28-67F0E5319B04}"/>
          </ac:spMkLst>
        </pc:spChg>
        <pc:spChg chg="add mod">
          <ac:chgData name="Devraj, Keerthi (DI SW ICS ICV OS)" userId="a61e6969-d85e-42d5-913e-c7fe6fb96353" providerId="ADAL" clId="{D647A2E0-F33C-49FA-934C-DBBFA9A485FC}" dt="2023-03-15T12:04:23.399" v="1145" actId="14100"/>
          <ac:spMkLst>
            <pc:docMk/>
            <pc:sldMk cId="1381069072" sldId="1178"/>
            <ac:spMk id="190" creationId="{1874C017-7CC1-E734-697D-D530E11DEAC5}"/>
          </ac:spMkLst>
        </pc:spChg>
        <pc:spChg chg="add mod">
          <ac:chgData name="Devraj, Keerthi (DI SW ICS ICV OS)" userId="a61e6969-d85e-42d5-913e-c7fe6fb96353" providerId="ADAL" clId="{D647A2E0-F33C-49FA-934C-DBBFA9A485FC}" dt="2023-03-15T12:04:24.549" v="1146" actId="14100"/>
          <ac:spMkLst>
            <pc:docMk/>
            <pc:sldMk cId="1381069072" sldId="1178"/>
            <ac:spMk id="191" creationId="{827EB659-5D5B-9555-1C34-5FA63310A47F}"/>
          </ac:spMkLst>
        </pc:spChg>
        <pc:spChg chg="add mod">
          <ac:chgData name="Devraj, Keerthi (DI SW ICS ICV OS)" userId="a61e6969-d85e-42d5-913e-c7fe6fb96353" providerId="ADAL" clId="{D647A2E0-F33C-49FA-934C-DBBFA9A485FC}" dt="2023-03-15T11:59:14.993" v="1110" actId="1076"/>
          <ac:spMkLst>
            <pc:docMk/>
            <pc:sldMk cId="1381069072" sldId="1178"/>
            <ac:spMk id="192" creationId="{A5D1F2DD-7B33-86A6-D266-91AEF1AC7353}"/>
          </ac:spMkLst>
        </pc:spChg>
        <pc:spChg chg="add mod">
          <ac:chgData name="Devraj, Keerthi (DI SW ICS ICV OS)" userId="a61e6969-d85e-42d5-913e-c7fe6fb96353" providerId="ADAL" clId="{D647A2E0-F33C-49FA-934C-DBBFA9A485FC}" dt="2023-03-15T11:59:14.993" v="1110" actId="1076"/>
          <ac:spMkLst>
            <pc:docMk/>
            <pc:sldMk cId="1381069072" sldId="1178"/>
            <ac:spMk id="195" creationId="{574FC1AE-8B12-4750-D379-AFD6173D6F7A}"/>
          </ac:spMkLst>
        </pc:spChg>
        <pc:spChg chg="add mod">
          <ac:chgData name="Devraj, Keerthi (DI SW ICS ICV OS)" userId="a61e6969-d85e-42d5-913e-c7fe6fb96353" providerId="ADAL" clId="{D647A2E0-F33C-49FA-934C-DBBFA9A485FC}" dt="2023-03-15T12:05:28.524" v="1180" actId="1076"/>
          <ac:spMkLst>
            <pc:docMk/>
            <pc:sldMk cId="1381069072" sldId="1178"/>
            <ac:spMk id="196" creationId="{0DFA7503-026C-070A-27D5-A3B275B91E16}"/>
          </ac:spMkLst>
        </pc:spChg>
        <pc:grpChg chg="del">
          <ac:chgData name="Devraj, Keerthi (DI SW ICS ICV OS)" userId="a61e6969-d85e-42d5-913e-c7fe6fb96353" providerId="ADAL" clId="{D647A2E0-F33C-49FA-934C-DBBFA9A485FC}" dt="2023-03-15T11:58:23.250" v="1107" actId="478"/>
          <ac:grpSpMkLst>
            <pc:docMk/>
            <pc:sldMk cId="1381069072" sldId="1178"/>
            <ac:grpSpMk id="11" creationId="{CFA5C200-0360-E19F-5D7F-27983D3C8D59}"/>
          </ac:grpSpMkLst>
        </pc:grpChg>
        <pc:grpChg chg="del">
          <ac:chgData name="Devraj, Keerthi (DI SW ICS ICV OS)" userId="a61e6969-d85e-42d5-913e-c7fe6fb96353" providerId="ADAL" clId="{D647A2E0-F33C-49FA-934C-DBBFA9A485FC}" dt="2023-03-15T11:58:23.250" v="1107" actId="478"/>
          <ac:grpSpMkLst>
            <pc:docMk/>
            <pc:sldMk cId="1381069072" sldId="1178"/>
            <ac:grpSpMk id="12" creationId="{BA79C50C-8CE2-ECE7-BCC1-4190DD00D705}"/>
          </ac:grpSpMkLst>
        </pc:grpChg>
        <pc:grpChg chg="del">
          <ac:chgData name="Devraj, Keerthi (DI SW ICS ICV OS)" userId="a61e6969-d85e-42d5-913e-c7fe6fb96353" providerId="ADAL" clId="{D647A2E0-F33C-49FA-934C-DBBFA9A485FC}" dt="2023-03-15T11:58:23.250" v="1107" actId="478"/>
          <ac:grpSpMkLst>
            <pc:docMk/>
            <pc:sldMk cId="1381069072" sldId="1178"/>
            <ac:grpSpMk id="13" creationId="{14ACE923-0A5B-A5E4-2416-5C9A5691CD17}"/>
          </ac:grpSpMkLst>
        </pc:grpChg>
        <pc:grpChg chg="del">
          <ac:chgData name="Devraj, Keerthi (DI SW ICS ICV OS)" userId="a61e6969-d85e-42d5-913e-c7fe6fb96353" providerId="ADAL" clId="{D647A2E0-F33C-49FA-934C-DBBFA9A485FC}" dt="2023-03-15T11:58:23.250" v="1107" actId="478"/>
          <ac:grpSpMkLst>
            <pc:docMk/>
            <pc:sldMk cId="1381069072" sldId="1178"/>
            <ac:grpSpMk id="14" creationId="{6E6C3434-09C4-482A-7C76-0A370D8539B5}"/>
          </ac:grpSpMkLst>
        </pc:grpChg>
        <pc:grpChg chg="del">
          <ac:chgData name="Devraj, Keerthi (DI SW ICS ICV OS)" userId="a61e6969-d85e-42d5-913e-c7fe6fb96353" providerId="ADAL" clId="{D647A2E0-F33C-49FA-934C-DBBFA9A485FC}" dt="2023-03-15T11:58:23.250" v="1107" actId="478"/>
          <ac:grpSpMkLst>
            <pc:docMk/>
            <pc:sldMk cId="1381069072" sldId="1178"/>
            <ac:grpSpMk id="18" creationId="{6DC343E6-5440-37BE-8FDB-892E37240D06}"/>
          </ac:grpSpMkLst>
        </pc:grpChg>
        <pc:grpChg chg="add mod">
          <ac:chgData name="Devraj, Keerthi (DI SW ICS ICV OS)" userId="a61e6969-d85e-42d5-913e-c7fe6fb96353" providerId="ADAL" clId="{D647A2E0-F33C-49FA-934C-DBBFA9A485FC}" dt="2023-03-15T11:59:14.993" v="1110" actId="1076"/>
          <ac:grpSpMkLst>
            <pc:docMk/>
            <pc:sldMk cId="1381069072" sldId="1178"/>
            <ac:grpSpMk id="72" creationId="{4944C169-DA93-6903-C74D-3A4A79E1758D}"/>
          </ac:grpSpMkLst>
        </pc:grpChg>
        <pc:grpChg chg="mod">
          <ac:chgData name="Devraj, Keerthi (DI SW ICS ICV OS)" userId="a61e6969-d85e-42d5-913e-c7fe6fb96353" providerId="ADAL" clId="{D647A2E0-F33C-49FA-934C-DBBFA9A485FC}" dt="2023-03-15T11:59:09.763" v="1109"/>
          <ac:grpSpMkLst>
            <pc:docMk/>
            <pc:sldMk cId="1381069072" sldId="1178"/>
            <ac:grpSpMk id="81" creationId="{82EDDBBD-7402-6930-4881-18B21F8DF99F}"/>
          </ac:grpSpMkLst>
        </pc:grpChg>
        <pc:grpChg chg="add mod">
          <ac:chgData name="Devraj, Keerthi (DI SW ICS ICV OS)" userId="a61e6969-d85e-42d5-913e-c7fe6fb96353" providerId="ADAL" clId="{D647A2E0-F33C-49FA-934C-DBBFA9A485FC}" dt="2023-03-15T11:59:14.993" v="1110" actId="1076"/>
          <ac:grpSpMkLst>
            <pc:docMk/>
            <pc:sldMk cId="1381069072" sldId="1178"/>
            <ac:grpSpMk id="85" creationId="{22F7C478-B9EB-DCF9-4467-C24E9E47ED35}"/>
          </ac:grpSpMkLst>
        </pc:grpChg>
        <pc:grpChg chg="mod">
          <ac:chgData name="Devraj, Keerthi (DI SW ICS ICV OS)" userId="a61e6969-d85e-42d5-913e-c7fe6fb96353" providerId="ADAL" clId="{D647A2E0-F33C-49FA-934C-DBBFA9A485FC}" dt="2023-03-15T11:59:09.763" v="1109"/>
          <ac:grpSpMkLst>
            <pc:docMk/>
            <pc:sldMk cId="1381069072" sldId="1178"/>
            <ac:grpSpMk id="94" creationId="{E9E92EE0-AC0D-BF5C-3B5B-4B271DC98189}"/>
          </ac:grpSpMkLst>
        </pc:grpChg>
        <pc:grpChg chg="add mod">
          <ac:chgData name="Devraj, Keerthi (DI SW ICS ICV OS)" userId="a61e6969-d85e-42d5-913e-c7fe6fb96353" providerId="ADAL" clId="{D647A2E0-F33C-49FA-934C-DBBFA9A485FC}" dt="2023-03-15T11:59:14.993" v="1110" actId="1076"/>
          <ac:grpSpMkLst>
            <pc:docMk/>
            <pc:sldMk cId="1381069072" sldId="1178"/>
            <ac:grpSpMk id="98" creationId="{8BE79AA0-B36C-E534-4F55-953A48FA9E83}"/>
          </ac:grpSpMkLst>
        </pc:grpChg>
        <pc:grpChg chg="mod">
          <ac:chgData name="Devraj, Keerthi (DI SW ICS ICV OS)" userId="a61e6969-d85e-42d5-913e-c7fe6fb96353" providerId="ADAL" clId="{D647A2E0-F33C-49FA-934C-DBBFA9A485FC}" dt="2023-03-15T11:59:09.763" v="1109"/>
          <ac:grpSpMkLst>
            <pc:docMk/>
            <pc:sldMk cId="1381069072" sldId="1178"/>
            <ac:grpSpMk id="107" creationId="{124A0139-D18D-6538-B711-3DE722AE2D06}"/>
          </ac:grpSpMkLst>
        </pc:grpChg>
        <pc:grpChg chg="add mod">
          <ac:chgData name="Devraj, Keerthi (DI SW ICS ICV OS)" userId="a61e6969-d85e-42d5-913e-c7fe6fb96353" providerId="ADAL" clId="{D647A2E0-F33C-49FA-934C-DBBFA9A485FC}" dt="2023-03-15T11:59:14.993" v="1110" actId="1076"/>
          <ac:grpSpMkLst>
            <pc:docMk/>
            <pc:sldMk cId="1381069072" sldId="1178"/>
            <ac:grpSpMk id="129" creationId="{D7B336A3-5EF3-3F3B-9B45-454DDC068E28}"/>
          </ac:grpSpMkLst>
        </pc:grpChg>
        <pc:grpChg chg="mod">
          <ac:chgData name="Devraj, Keerthi (DI SW ICS ICV OS)" userId="a61e6969-d85e-42d5-913e-c7fe6fb96353" providerId="ADAL" clId="{D647A2E0-F33C-49FA-934C-DBBFA9A485FC}" dt="2023-03-15T11:59:09.763" v="1109"/>
          <ac:grpSpMkLst>
            <pc:docMk/>
            <pc:sldMk cId="1381069072" sldId="1178"/>
            <ac:grpSpMk id="138" creationId="{CE304693-5F8F-85A2-CF67-2CB0A1C53BD1}"/>
          </ac:grpSpMkLst>
        </pc:grpChg>
        <pc:grpChg chg="add mod">
          <ac:chgData name="Devraj, Keerthi (DI SW ICS ICV OS)" userId="a61e6969-d85e-42d5-913e-c7fe6fb96353" providerId="ADAL" clId="{D647A2E0-F33C-49FA-934C-DBBFA9A485FC}" dt="2023-03-15T11:59:14.993" v="1110" actId="1076"/>
          <ac:grpSpMkLst>
            <pc:docMk/>
            <pc:sldMk cId="1381069072" sldId="1178"/>
            <ac:grpSpMk id="142" creationId="{9FB2DABF-7542-A08D-20E1-FEF0B9FA4402}"/>
          </ac:grpSpMkLst>
        </pc:grpChg>
        <pc:grpChg chg="mod">
          <ac:chgData name="Devraj, Keerthi (DI SW ICS ICV OS)" userId="a61e6969-d85e-42d5-913e-c7fe6fb96353" providerId="ADAL" clId="{D647A2E0-F33C-49FA-934C-DBBFA9A485FC}" dt="2023-03-15T11:59:09.763" v="1109"/>
          <ac:grpSpMkLst>
            <pc:docMk/>
            <pc:sldMk cId="1381069072" sldId="1178"/>
            <ac:grpSpMk id="151" creationId="{2BAA5FBF-C925-389A-B0A9-EF026CD0E422}"/>
          </ac:grpSpMkLst>
        </pc:grpChg>
        <pc:grpChg chg="add mod">
          <ac:chgData name="Devraj, Keerthi (DI SW ICS ICV OS)" userId="a61e6969-d85e-42d5-913e-c7fe6fb96353" providerId="ADAL" clId="{D647A2E0-F33C-49FA-934C-DBBFA9A485FC}" dt="2023-03-15T11:59:14.993" v="1110" actId="1076"/>
          <ac:grpSpMkLst>
            <pc:docMk/>
            <pc:sldMk cId="1381069072" sldId="1178"/>
            <ac:grpSpMk id="155" creationId="{FFC45052-2759-B2B8-225F-5370AB6A3BE9}"/>
          </ac:grpSpMkLst>
        </pc:grpChg>
        <pc:grpChg chg="mod">
          <ac:chgData name="Devraj, Keerthi (DI SW ICS ICV OS)" userId="a61e6969-d85e-42d5-913e-c7fe6fb96353" providerId="ADAL" clId="{D647A2E0-F33C-49FA-934C-DBBFA9A485FC}" dt="2023-03-15T11:59:09.763" v="1109"/>
          <ac:grpSpMkLst>
            <pc:docMk/>
            <pc:sldMk cId="1381069072" sldId="1178"/>
            <ac:grpSpMk id="164" creationId="{FA3A3266-E5D1-7402-B263-11F0ABBE91EA}"/>
          </ac:grpSpMkLst>
        </pc:grpChg>
        <pc:cxnChg chg="del mod">
          <ac:chgData name="Devraj, Keerthi (DI SW ICS ICV OS)" userId="a61e6969-d85e-42d5-913e-c7fe6fb96353" providerId="ADAL" clId="{D647A2E0-F33C-49FA-934C-DBBFA9A485FC}" dt="2023-03-15T11:58:23.250" v="1107" actId="478"/>
          <ac:cxnSpMkLst>
            <pc:docMk/>
            <pc:sldMk cId="1381069072" sldId="1178"/>
            <ac:cxnSpMk id="17" creationId="{91C22052-9481-545A-8030-9746CBB876E6}"/>
          </ac:cxnSpMkLst>
        </pc:cxnChg>
        <pc:cxnChg chg="mod">
          <ac:chgData name="Devraj, Keerthi (DI SW ICS ICV OS)" userId="a61e6969-d85e-42d5-913e-c7fe6fb96353" providerId="ADAL" clId="{D647A2E0-F33C-49FA-934C-DBBFA9A485FC}" dt="2023-03-15T11:58:23.250" v="1107" actId="478"/>
          <ac:cxnSpMkLst>
            <pc:docMk/>
            <pc:sldMk cId="1381069072" sldId="1178"/>
            <ac:cxnSpMk id="28" creationId="{7529920A-C5CA-C2DF-5BEC-81D976472260}"/>
          </ac:cxnSpMkLst>
        </pc:cxnChg>
        <pc:cxnChg chg="mod">
          <ac:chgData name="Devraj, Keerthi (DI SW ICS ICV OS)" userId="a61e6969-d85e-42d5-913e-c7fe6fb96353" providerId="ADAL" clId="{D647A2E0-F33C-49FA-934C-DBBFA9A485FC}" dt="2023-03-15T11:58:23.250" v="1107" actId="478"/>
          <ac:cxnSpMkLst>
            <pc:docMk/>
            <pc:sldMk cId="1381069072" sldId="1178"/>
            <ac:cxnSpMk id="29" creationId="{71F1BBE4-F411-B7E8-BD8E-58A98A678F9A}"/>
          </ac:cxnSpMkLst>
        </pc:cxnChg>
        <pc:cxnChg chg="mod">
          <ac:chgData name="Devraj, Keerthi (DI SW ICS ICV OS)" userId="a61e6969-d85e-42d5-913e-c7fe6fb96353" providerId="ADAL" clId="{D647A2E0-F33C-49FA-934C-DBBFA9A485FC}" dt="2023-03-15T11:58:23.250" v="1107" actId="478"/>
          <ac:cxnSpMkLst>
            <pc:docMk/>
            <pc:sldMk cId="1381069072" sldId="1178"/>
            <ac:cxnSpMk id="32" creationId="{7AE19DE3-07C3-23C8-3CC4-53F1395E3A3A}"/>
          </ac:cxnSpMkLst>
        </pc:cxnChg>
        <pc:cxnChg chg="mod">
          <ac:chgData name="Devraj, Keerthi (DI SW ICS ICV OS)" userId="a61e6969-d85e-42d5-913e-c7fe6fb96353" providerId="ADAL" clId="{D647A2E0-F33C-49FA-934C-DBBFA9A485FC}" dt="2023-03-15T11:58:23.250" v="1107" actId="478"/>
          <ac:cxnSpMkLst>
            <pc:docMk/>
            <pc:sldMk cId="1381069072" sldId="1178"/>
            <ac:cxnSpMk id="34" creationId="{8B189939-CA49-DD41-D67D-7B7A3CB2D579}"/>
          </ac:cxnSpMkLst>
        </pc:cxnChg>
        <pc:cxnChg chg="mod">
          <ac:chgData name="Devraj, Keerthi (DI SW ICS ICV OS)" userId="a61e6969-d85e-42d5-913e-c7fe6fb96353" providerId="ADAL" clId="{D647A2E0-F33C-49FA-934C-DBBFA9A485FC}" dt="2023-03-15T11:58:23.250" v="1107" actId="478"/>
          <ac:cxnSpMkLst>
            <pc:docMk/>
            <pc:sldMk cId="1381069072" sldId="1178"/>
            <ac:cxnSpMk id="40" creationId="{5C06A235-7270-9947-8F27-9DF3FB3B5B09}"/>
          </ac:cxnSpMkLst>
        </pc:cxnChg>
        <pc:cxnChg chg="mod">
          <ac:chgData name="Devraj, Keerthi (DI SW ICS ICV OS)" userId="a61e6969-d85e-42d5-913e-c7fe6fb96353" providerId="ADAL" clId="{D647A2E0-F33C-49FA-934C-DBBFA9A485FC}" dt="2023-03-15T11:58:23.250" v="1107" actId="478"/>
          <ac:cxnSpMkLst>
            <pc:docMk/>
            <pc:sldMk cId="1381069072" sldId="1178"/>
            <ac:cxnSpMk id="41" creationId="{71C4EA23-5875-3CE3-58AB-A3EC98649D6E}"/>
          </ac:cxnSpMkLst>
        </pc:cxnChg>
        <pc:cxnChg chg="mod">
          <ac:chgData name="Devraj, Keerthi (DI SW ICS ICV OS)" userId="a61e6969-d85e-42d5-913e-c7fe6fb96353" providerId="ADAL" clId="{D647A2E0-F33C-49FA-934C-DBBFA9A485FC}" dt="2023-03-15T11:58:23.250" v="1107" actId="478"/>
          <ac:cxnSpMkLst>
            <pc:docMk/>
            <pc:sldMk cId="1381069072" sldId="1178"/>
            <ac:cxnSpMk id="44" creationId="{BFFDFCC1-1D2E-2BE4-4415-5EAD93079FE2}"/>
          </ac:cxnSpMkLst>
        </pc:cxnChg>
        <pc:cxnChg chg="mod">
          <ac:chgData name="Devraj, Keerthi (DI SW ICS ICV OS)" userId="a61e6969-d85e-42d5-913e-c7fe6fb96353" providerId="ADAL" clId="{D647A2E0-F33C-49FA-934C-DBBFA9A485FC}" dt="2023-03-15T11:58:23.250" v="1107" actId="478"/>
          <ac:cxnSpMkLst>
            <pc:docMk/>
            <pc:sldMk cId="1381069072" sldId="1178"/>
            <ac:cxnSpMk id="46" creationId="{6686E257-295B-E05B-3057-7C7280BE025F}"/>
          </ac:cxnSpMkLst>
        </pc:cxnChg>
        <pc:cxnChg chg="mod">
          <ac:chgData name="Devraj, Keerthi (DI SW ICS ICV OS)" userId="a61e6969-d85e-42d5-913e-c7fe6fb96353" providerId="ADAL" clId="{D647A2E0-F33C-49FA-934C-DBBFA9A485FC}" dt="2023-03-15T11:58:23.250" v="1107" actId="478"/>
          <ac:cxnSpMkLst>
            <pc:docMk/>
            <pc:sldMk cId="1381069072" sldId="1178"/>
            <ac:cxnSpMk id="52" creationId="{364AE450-E09A-35AF-27D4-6456D507B554}"/>
          </ac:cxnSpMkLst>
        </pc:cxnChg>
        <pc:cxnChg chg="mod">
          <ac:chgData name="Devraj, Keerthi (DI SW ICS ICV OS)" userId="a61e6969-d85e-42d5-913e-c7fe6fb96353" providerId="ADAL" clId="{D647A2E0-F33C-49FA-934C-DBBFA9A485FC}" dt="2023-03-15T11:58:23.250" v="1107" actId="478"/>
          <ac:cxnSpMkLst>
            <pc:docMk/>
            <pc:sldMk cId="1381069072" sldId="1178"/>
            <ac:cxnSpMk id="53" creationId="{24395454-AC00-AD6C-F439-F5903AC3BD04}"/>
          </ac:cxnSpMkLst>
        </pc:cxnChg>
        <pc:cxnChg chg="mod">
          <ac:chgData name="Devraj, Keerthi (DI SW ICS ICV OS)" userId="a61e6969-d85e-42d5-913e-c7fe6fb96353" providerId="ADAL" clId="{D647A2E0-F33C-49FA-934C-DBBFA9A485FC}" dt="2023-03-15T11:58:23.250" v="1107" actId="478"/>
          <ac:cxnSpMkLst>
            <pc:docMk/>
            <pc:sldMk cId="1381069072" sldId="1178"/>
            <ac:cxnSpMk id="56" creationId="{455B19B1-7787-AA1A-5A62-2A6F08641159}"/>
          </ac:cxnSpMkLst>
        </pc:cxnChg>
        <pc:cxnChg chg="mod">
          <ac:chgData name="Devraj, Keerthi (DI SW ICS ICV OS)" userId="a61e6969-d85e-42d5-913e-c7fe6fb96353" providerId="ADAL" clId="{D647A2E0-F33C-49FA-934C-DBBFA9A485FC}" dt="2023-03-15T11:58:23.250" v="1107" actId="478"/>
          <ac:cxnSpMkLst>
            <pc:docMk/>
            <pc:sldMk cId="1381069072" sldId="1178"/>
            <ac:cxnSpMk id="58" creationId="{779B83CF-E8AC-369C-C5FE-C748767941E8}"/>
          </ac:cxnSpMkLst>
        </pc:cxnChg>
        <pc:cxnChg chg="add del mod">
          <ac:chgData name="Devraj, Keerthi (DI SW ICS ICV OS)" userId="a61e6969-d85e-42d5-913e-c7fe6fb96353" providerId="ADAL" clId="{D647A2E0-F33C-49FA-934C-DBBFA9A485FC}" dt="2023-03-15T12:04:35.811" v="1175" actId="1038"/>
          <ac:cxnSpMkLst>
            <pc:docMk/>
            <pc:sldMk cId="1381069072" sldId="1178"/>
            <ac:cxnSpMk id="69" creationId="{6BF1FDD9-B495-6F5D-6358-E677D8FAA0A0}"/>
          </ac:cxnSpMkLst>
        </pc:cxnChg>
        <pc:cxnChg chg="add mod">
          <ac:chgData name="Devraj, Keerthi (DI SW ICS ICV OS)" userId="a61e6969-d85e-42d5-913e-c7fe6fb96353" providerId="ADAL" clId="{D647A2E0-F33C-49FA-934C-DBBFA9A485FC}" dt="2023-03-15T11:59:14.993" v="1110" actId="1076"/>
          <ac:cxnSpMkLst>
            <pc:docMk/>
            <pc:sldMk cId="1381069072" sldId="1178"/>
            <ac:cxnSpMk id="70" creationId="{B0650397-73A0-A719-446B-CD367A2A2DE5}"/>
          </ac:cxnSpMkLst>
        </pc:cxnChg>
        <pc:cxnChg chg="add mod">
          <ac:chgData name="Devraj, Keerthi (DI SW ICS ICV OS)" userId="a61e6969-d85e-42d5-913e-c7fe6fb96353" providerId="ADAL" clId="{D647A2E0-F33C-49FA-934C-DBBFA9A485FC}" dt="2023-03-15T11:59:14.993" v="1110" actId="1076"/>
          <ac:cxnSpMkLst>
            <pc:docMk/>
            <pc:sldMk cId="1381069072" sldId="1178"/>
            <ac:cxnSpMk id="71" creationId="{FAC3BDB7-9972-A921-EC5F-ADD53093D63A}"/>
          </ac:cxnSpMkLst>
        </pc:cxnChg>
        <pc:cxnChg chg="mod">
          <ac:chgData name="Devraj, Keerthi (DI SW ICS ICV OS)" userId="a61e6969-d85e-42d5-913e-c7fe6fb96353" providerId="ADAL" clId="{D647A2E0-F33C-49FA-934C-DBBFA9A485FC}" dt="2023-03-15T11:59:09.763" v="1109"/>
          <ac:cxnSpMkLst>
            <pc:docMk/>
            <pc:sldMk cId="1381069072" sldId="1178"/>
            <ac:cxnSpMk id="76" creationId="{012E016C-7032-A476-651A-9D62566BB61F}"/>
          </ac:cxnSpMkLst>
        </pc:cxnChg>
        <pc:cxnChg chg="mod">
          <ac:chgData name="Devraj, Keerthi (DI SW ICS ICV OS)" userId="a61e6969-d85e-42d5-913e-c7fe6fb96353" providerId="ADAL" clId="{D647A2E0-F33C-49FA-934C-DBBFA9A485FC}" dt="2023-03-15T11:59:09.763" v="1109"/>
          <ac:cxnSpMkLst>
            <pc:docMk/>
            <pc:sldMk cId="1381069072" sldId="1178"/>
            <ac:cxnSpMk id="77" creationId="{2F78DDBC-F697-1D01-5F27-932400DB770C}"/>
          </ac:cxnSpMkLst>
        </pc:cxnChg>
        <pc:cxnChg chg="mod">
          <ac:chgData name="Devraj, Keerthi (DI SW ICS ICV OS)" userId="a61e6969-d85e-42d5-913e-c7fe6fb96353" providerId="ADAL" clId="{D647A2E0-F33C-49FA-934C-DBBFA9A485FC}" dt="2023-03-15T11:59:09.763" v="1109"/>
          <ac:cxnSpMkLst>
            <pc:docMk/>
            <pc:sldMk cId="1381069072" sldId="1178"/>
            <ac:cxnSpMk id="78" creationId="{BAD3F405-2C60-5BD0-00B8-685C73F2CE8B}"/>
          </ac:cxnSpMkLst>
        </pc:cxnChg>
        <pc:cxnChg chg="mod">
          <ac:chgData name="Devraj, Keerthi (DI SW ICS ICV OS)" userId="a61e6969-d85e-42d5-913e-c7fe6fb96353" providerId="ADAL" clId="{D647A2E0-F33C-49FA-934C-DBBFA9A485FC}" dt="2023-03-15T11:59:09.763" v="1109"/>
          <ac:cxnSpMkLst>
            <pc:docMk/>
            <pc:sldMk cId="1381069072" sldId="1178"/>
            <ac:cxnSpMk id="79" creationId="{FF2E9263-0F3F-F45D-271A-BF0693F3EA34}"/>
          </ac:cxnSpMkLst>
        </pc:cxnChg>
        <pc:cxnChg chg="mod">
          <ac:chgData name="Devraj, Keerthi (DI SW ICS ICV OS)" userId="a61e6969-d85e-42d5-913e-c7fe6fb96353" providerId="ADAL" clId="{D647A2E0-F33C-49FA-934C-DBBFA9A485FC}" dt="2023-03-15T11:59:09.763" v="1109"/>
          <ac:cxnSpMkLst>
            <pc:docMk/>
            <pc:sldMk cId="1381069072" sldId="1178"/>
            <ac:cxnSpMk id="80" creationId="{0CE6AAFA-608D-1196-4BCD-F0026898AD43}"/>
          </ac:cxnSpMkLst>
        </pc:cxnChg>
        <pc:cxnChg chg="mod">
          <ac:chgData name="Devraj, Keerthi (DI SW ICS ICV OS)" userId="a61e6969-d85e-42d5-913e-c7fe6fb96353" providerId="ADAL" clId="{D647A2E0-F33C-49FA-934C-DBBFA9A485FC}" dt="2023-03-15T11:59:09.763" v="1109"/>
          <ac:cxnSpMkLst>
            <pc:docMk/>
            <pc:sldMk cId="1381069072" sldId="1178"/>
            <ac:cxnSpMk id="82" creationId="{4BA3C42F-2F9B-957A-9C25-3CD638483C99}"/>
          </ac:cxnSpMkLst>
        </pc:cxnChg>
        <pc:cxnChg chg="mod">
          <ac:chgData name="Devraj, Keerthi (DI SW ICS ICV OS)" userId="a61e6969-d85e-42d5-913e-c7fe6fb96353" providerId="ADAL" clId="{D647A2E0-F33C-49FA-934C-DBBFA9A485FC}" dt="2023-03-15T11:59:09.763" v="1109"/>
          <ac:cxnSpMkLst>
            <pc:docMk/>
            <pc:sldMk cId="1381069072" sldId="1178"/>
            <ac:cxnSpMk id="89" creationId="{A03BF178-349D-FF03-CFB5-65D0292B1259}"/>
          </ac:cxnSpMkLst>
        </pc:cxnChg>
        <pc:cxnChg chg="mod">
          <ac:chgData name="Devraj, Keerthi (DI SW ICS ICV OS)" userId="a61e6969-d85e-42d5-913e-c7fe6fb96353" providerId="ADAL" clId="{D647A2E0-F33C-49FA-934C-DBBFA9A485FC}" dt="2023-03-15T11:59:09.763" v="1109"/>
          <ac:cxnSpMkLst>
            <pc:docMk/>
            <pc:sldMk cId="1381069072" sldId="1178"/>
            <ac:cxnSpMk id="90" creationId="{035E693C-DDC2-2045-BC42-95907EAA6746}"/>
          </ac:cxnSpMkLst>
        </pc:cxnChg>
        <pc:cxnChg chg="mod">
          <ac:chgData name="Devraj, Keerthi (DI SW ICS ICV OS)" userId="a61e6969-d85e-42d5-913e-c7fe6fb96353" providerId="ADAL" clId="{D647A2E0-F33C-49FA-934C-DBBFA9A485FC}" dt="2023-03-15T11:59:09.763" v="1109"/>
          <ac:cxnSpMkLst>
            <pc:docMk/>
            <pc:sldMk cId="1381069072" sldId="1178"/>
            <ac:cxnSpMk id="91" creationId="{319201DF-8669-821C-65FC-29145A26C147}"/>
          </ac:cxnSpMkLst>
        </pc:cxnChg>
        <pc:cxnChg chg="mod">
          <ac:chgData name="Devraj, Keerthi (DI SW ICS ICV OS)" userId="a61e6969-d85e-42d5-913e-c7fe6fb96353" providerId="ADAL" clId="{D647A2E0-F33C-49FA-934C-DBBFA9A485FC}" dt="2023-03-15T11:59:09.763" v="1109"/>
          <ac:cxnSpMkLst>
            <pc:docMk/>
            <pc:sldMk cId="1381069072" sldId="1178"/>
            <ac:cxnSpMk id="92" creationId="{A5D2E6D3-DA98-FF67-59FB-822FADFDC161}"/>
          </ac:cxnSpMkLst>
        </pc:cxnChg>
        <pc:cxnChg chg="mod">
          <ac:chgData name="Devraj, Keerthi (DI SW ICS ICV OS)" userId="a61e6969-d85e-42d5-913e-c7fe6fb96353" providerId="ADAL" clId="{D647A2E0-F33C-49FA-934C-DBBFA9A485FC}" dt="2023-03-15T11:59:09.763" v="1109"/>
          <ac:cxnSpMkLst>
            <pc:docMk/>
            <pc:sldMk cId="1381069072" sldId="1178"/>
            <ac:cxnSpMk id="93" creationId="{B6C956EE-7A81-487C-4A12-591B4B1314C7}"/>
          </ac:cxnSpMkLst>
        </pc:cxnChg>
        <pc:cxnChg chg="mod">
          <ac:chgData name="Devraj, Keerthi (DI SW ICS ICV OS)" userId="a61e6969-d85e-42d5-913e-c7fe6fb96353" providerId="ADAL" clId="{D647A2E0-F33C-49FA-934C-DBBFA9A485FC}" dt="2023-03-15T11:59:09.763" v="1109"/>
          <ac:cxnSpMkLst>
            <pc:docMk/>
            <pc:sldMk cId="1381069072" sldId="1178"/>
            <ac:cxnSpMk id="95" creationId="{A2B31C57-EE8B-AA24-EA2B-FD8E5BA3ED10}"/>
          </ac:cxnSpMkLst>
        </pc:cxnChg>
        <pc:cxnChg chg="mod">
          <ac:chgData name="Devraj, Keerthi (DI SW ICS ICV OS)" userId="a61e6969-d85e-42d5-913e-c7fe6fb96353" providerId="ADAL" clId="{D647A2E0-F33C-49FA-934C-DBBFA9A485FC}" dt="2023-03-15T11:59:09.763" v="1109"/>
          <ac:cxnSpMkLst>
            <pc:docMk/>
            <pc:sldMk cId="1381069072" sldId="1178"/>
            <ac:cxnSpMk id="102" creationId="{4D017AB1-3A17-B33B-A7E5-0EE62063DEEE}"/>
          </ac:cxnSpMkLst>
        </pc:cxnChg>
        <pc:cxnChg chg="mod">
          <ac:chgData name="Devraj, Keerthi (DI SW ICS ICV OS)" userId="a61e6969-d85e-42d5-913e-c7fe6fb96353" providerId="ADAL" clId="{D647A2E0-F33C-49FA-934C-DBBFA9A485FC}" dt="2023-03-15T11:59:09.763" v="1109"/>
          <ac:cxnSpMkLst>
            <pc:docMk/>
            <pc:sldMk cId="1381069072" sldId="1178"/>
            <ac:cxnSpMk id="103" creationId="{0C1E1AE1-8F59-420E-98BA-A3EBAD8FFF54}"/>
          </ac:cxnSpMkLst>
        </pc:cxnChg>
        <pc:cxnChg chg="mod">
          <ac:chgData name="Devraj, Keerthi (DI SW ICS ICV OS)" userId="a61e6969-d85e-42d5-913e-c7fe6fb96353" providerId="ADAL" clId="{D647A2E0-F33C-49FA-934C-DBBFA9A485FC}" dt="2023-03-15T11:59:09.763" v="1109"/>
          <ac:cxnSpMkLst>
            <pc:docMk/>
            <pc:sldMk cId="1381069072" sldId="1178"/>
            <ac:cxnSpMk id="104" creationId="{15D63A60-B0F1-D43D-32CF-DFC7556891A7}"/>
          </ac:cxnSpMkLst>
        </pc:cxnChg>
        <pc:cxnChg chg="mod">
          <ac:chgData name="Devraj, Keerthi (DI SW ICS ICV OS)" userId="a61e6969-d85e-42d5-913e-c7fe6fb96353" providerId="ADAL" clId="{D647A2E0-F33C-49FA-934C-DBBFA9A485FC}" dt="2023-03-15T11:59:09.763" v="1109"/>
          <ac:cxnSpMkLst>
            <pc:docMk/>
            <pc:sldMk cId="1381069072" sldId="1178"/>
            <ac:cxnSpMk id="105" creationId="{77DA9659-0911-7C7A-EBBD-DCC011DF1C3A}"/>
          </ac:cxnSpMkLst>
        </pc:cxnChg>
        <pc:cxnChg chg="mod">
          <ac:chgData name="Devraj, Keerthi (DI SW ICS ICV OS)" userId="a61e6969-d85e-42d5-913e-c7fe6fb96353" providerId="ADAL" clId="{D647A2E0-F33C-49FA-934C-DBBFA9A485FC}" dt="2023-03-15T11:59:09.763" v="1109"/>
          <ac:cxnSpMkLst>
            <pc:docMk/>
            <pc:sldMk cId="1381069072" sldId="1178"/>
            <ac:cxnSpMk id="106" creationId="{D1477D39-ED9B-49AF-7CB3-57DA11BE6048}"/>
          </ac:cxnSpMkLst>
        </pc:cxnChg>
        <pc:cxnChg chg="mod">
          <ac:chgData name="Devraj, Keerthi (DI SW ICS ICV OS)" userId="a61e6969-d85e-42d5-913e-c7fe6fb96353" providerId="ADAL" clId="{D647A2E0-F33C-49FA-934C-DBBFA9A485FC}" dt="2023-03-15T11:59:09.763" v="1109"/>
          <ac:cxnSpMkLst>
            <pc:docMk/>
            <pc:sldMk cId="1381069072" sldId="1178"/>
            <ac:cxnSpMk id="108" creationId="{4FE12E7A-2F0D-8A0C-845A-728FE2153433}"/>
          </ac:cxnSpMkLst>
        </pc:cxnChg>
        <pc:cxnChg chg="add mod">
          <ac:chgData name="Devraj, Keerthi (DI SW ICS ICV OS)" userId="a61e6969-d85e-42d5-913e-c7fe6fb96353" providerId="ADAL" clId="{D647A2E0-F33C-49FA-934C-DBBFA9A485FC}" dt="2023-03-15T11:59:14.993" v="1110" actId="1076"/>
          <ac:cxnSpMkLst>
            <pc:docMk/>
            <pc:sldMk cId="1381069072" sldId="1178"/>
            <ac:cxnSpMk id="111" creationId="{A94CCB8D-D422-D679-CDFE-6F653452D825}"/>
          </ac:cxnSpMkLst>
        </pc:cxnChg>
        <pc:cxnChg chg="add mod">
          <ac:chgData name="Devraj, Keerthi (DI SW ICS ICV OS)" userId="a61e6969-d85e-42d5-913e-c7fe6fb96353" providerId="ADAL" clId="{D647A2E0-F33C-49FA-934C-DBBFA9A485FC}" dt="2023-03-15T11:59:14.993" v="1110" actId="1076"/>
          <ac:cxnSpMkLst>
            <pc:docMk/>
            <pc:sldMk cId="1381069072" sldId="1178"/>
            <ac:cxnSpMk id="112" creationId="{2FDCA7FA-9106-8124-FA80-675895C3472D}"/>
          </ac:cxnSpMkLst>
        </pc:cxnChg>
        <pc:cxnChg chg="add mod">
          <ac:chgData name="Devraj, Keerthi (DI SW ICS ICV OS)" userId="a61e6969-d85e-42d5-913e-c7fe6fb96353" providerId="ADAL" clId="{D647A2E0-F33C-49FA-934C-DBBFA9A485FC}" dt="2023-03-15T11:59:14.993" v="1110" actId="1076"/>
          <ac:cxnSpMkLst>
            <pc:docMk/>
            <pc:sldMk cId="1381069072" sldId="1178"/>
            <ac:cxnSpMk id="113" creationId="{6922C08E-5771-2D69-DB6A-4372E6EE2A74}"/>
          </ac:cxnSpMkLst>
        </pc:cxnChg>
        <pc:cxnChg chg="add del mod">
          <ac:chgData name="Devraj, Keerthi (DI SW ICS ICV OS)" userId="a61e6969-d85e-42d5-913e-c7fe6fb96353" providerId="ADAL" clId="{D647A2E0-F33C-49FA-934C-DBBFA9A485FC}" dt="2023-03-15T12:04:35.811" v="1175" actId="1038"/>
          <ac:cxnSpMkLst>
            <pc:docMk/>
            <pc:sldMk cId="1381069072" sldId="1178"/>
            <ac:cxnSpMk id="114" creationId="{BA8AC488-91CB-E0EC-DE13-29996253AA5F}"/>
          </ac:cxnSpMkLst>
        </pc:cxnChg>
        <pc:cxnChg chg="add mod">
          <ac:chgData name="Devraj, Keerthi (DI SW ICS ICV OS)" userId="a61e6969-d85e-42d5-913e-c7fe6fb96353" providerId="ADAL" clId="{D647A2E0-F33C-49FA-934C-DBBFA9A485FC}" dt="2023-03-15T11:59:14.993" v="1110" actId="1076"/>
          <ac:cxnSpMkLst>
            <pc:docMk/>
            <pc:sldMk cId="1381069072" sldId="1178"/>
            <ac:cxnSpMk id="115" creationId="{822358E6-6343-8DC0-E34F-E39FAC17F03D}"/>
          </ac:cxnSpMkLst>
        </pc:cxnChg>
        <pc:cxnChg chg="add mod">
          <ac:chgData name="Devraj, Keerthi (DI SW ICS ICV OS)" userId="a61e6969-d85e-42d5-913e-c7fe6fb96353" providerId="ADAL" clId="{D647A2E0-F33C-49FA-934C-DBBFA9A485FC}" dt="2023-03-15T11:59:14.993" v="1110" actId="1076"/>
          <ac:cxnSpMkLst>
            <pc:docMk/>
            <pc:sldMk cId="1381069072" sldId="1178"/>
            <ac:cxnSpMk id="116" creationId="{D5D86965-191A-A743-E2A1-A04A41E9438E}"/>
          </ac:cxnSpMkLst>
        </pc:cxnChg>
        <pc:cxnChg chg="add mod">
          <ac:chgData name="Devraj, Keerthi (DI SW ICS ICV OS)" userId="a61e6969-d85e-42d5-913e-c7fe6fb96353" providerId="ADAL" clId="{D647A2E0-F33C-49FA-934C-DBBFA9A485FC}" dt="2023-03-15T11:59:14.993" v="1110" actId="1076"/>
          <ac:cxnSpMkLst>
            <pc:docMk/>
            <pc:sldMk cId="1381069072" sldId="1178"/>
            <ac:cxnSpMk id="117" creationId="{6E3C8234-F369-AEBE-1541-9EEC667CFB77}"/>
          </ac:cxnSpMkLst>
        </pc:cxnChg>
        <pc:cxnChg chg="add mod">
          <ac:chgData name="Devraj, Keerthi (DI SW ICS ICV OS)" userId="a61e6969-d85e-42d5-913e-c7fe6fb96353" providerId="ADAL" clId="{D647A2E0-F33C-49FA-934C-DBBFA9A485FC}" dt="2023-03-15T11:59:14.993" v="1110" actId="1076"/>
          <ac:cxnSpMkLst>
            <pc:docMk/>
            <pc:sldMk cId="1381069072" sldId="1178"/>
            <ac:cxnSpMk id="118" creationId="{D1815DC2-2CE1-B1A2-56D5-960F8E63AD6A}"/>
          </ac:cxnSpMkLst>
        </pc:cxnChg>
        <pc:cxnChg chg="add mod">
          <ac:chgData name="Devraj, Keerthi (DI SW ICS ICV OS)" userId="a61e6969-d85e-42d5-913e-c7fe6fb96353" providerId="ADAL" clId="{D647A2E0-F33C-49FA-934C-DBBFA9A485FC}" dt="2023-03-15T11:59:14.993" v="1110" actId="1076"/>
          <ac:cxnSpMkLst>
            <pc:docMk/>
            <pc:sldMk cId="1381069072" sldId="1178"/>
            <ac:cxnSpMk id="119" creationId="{42A7EC4F-B2A1-A492-B42C-7709F6D7AD6A}"/>
          </ac:cxnSpMkLst>
        </pc:cxnChg>
        <pc:cxnChg chg="add mod">
          <ac:chgData name="Devraj, Keerthi (DI SW ICS ICV OS)" userId="a61e6969-d85e-42d5-913e-c7fe6fb96353" providerId="ADAL" clId="{D647A2E0-F33C-49FA-934C-DBBFA9A485FC}" dt="2023-03-15T11:59:14.993" v="1110" actId="1076"/>
          <ac:cxnSpMkLst>
            <pc:docMk/>
            <pc:sldMk cId="1381069072" sldId="1178"/>
            <ac:cxnSpMk id="126" creationId="{071A3135-45D0-1D42-3AA9-D8E4B2B58E69}"/>
          </ac:cxnSpMkLst>
        </pc:cxnChg>
        <pc:cxnChg chg="add mod">
          <ac:chgData name="Devraj, Keerthi (DI SW ICS ICV OS)" userId="a61e6969-d85e-42d5-913e-c7fe6fb96353" providerId="ADAL" clId="{D647A2E0-F33C-49FA-934C-DBBFA9A485FC}" dt="2023-03-15T11:59:14.993" v="1110" actId="1076"/>
          <ac:cxnSpMkLst>
            <pc:docMk/>
            <pc:sldMk cId="1381069072" sldId="1178"/>
            <ac:cxnSpMk id="127" creationId="{29D380FA-6011-9FBA-AF80-EC048AE1E6ED}"/>
          </ac:cxnSpMkLst>
        </pc:cxnChg>
        <pc:cxnChg chg="add mod">
          <ac:chgData name="Devraj, Keerthi (DI SW ICS ICV OS)" userId="a61e6969-d85e-42d5-913e-c7fe6fb96353" providerId="ADAL" clId="{D647A2E0-F33C-49FA-934C-DBBFA9A485FC}" dt="2023-03-15T11:59:14.993" v="1110" actId="1076"/>
          <ac:cxnSpMkLst>
            <pc:docMk/>
            <pc:sldMk cId="1381069072" sldId="1178"/>
            <ac:cxnSpMk id="128" creationId="{8A912FE9-5538-8E24-4223-20A76239389F}"/>
          </ac:cxnSpMkLst>
        </pc:cxnChg>
        <pc:cxnChg chg="mod">
          <ac:chgData name="Devraj, Keerthi (DI SW ICS ICV OS)" userId="a61e6969-d85e-42d5-913e-c7fe6fb96353" providerId="ADAL" clId="{D647A2E0-F33C-49FA-934C-DBBFA9A485FC}" dt="2023-03-15T11:59:09.763" v="1109"/>
          <ac:cxnSpMkLst>
            <pc:docMk/>
            <pc:sldMk cId="1381069072" sldId="1178"/>
            <ac:cxnSpMk id="133" creationId="{660D20A7-A62C-E8E9-DE3B-ACC1F7655A9E}"/>
          </ac:cxnSpMkLst>
        </pc:cxnChg>
        <pc:cxnChg chg="mod">
          <ac:chgData name="Devraj, Keerthi (DI SW ICS ICV OS)" userId="a61e6969-d85e-42d5-913e-c7fe6fb96353" providerId="ADAL" clId="{D647A2E0-F33C-49FA-934C-DBBFA9A485FC}" dt="2023-03-15T11:59:09.763" v="1109"/>
          <ac:cxnSpMkLst>
            <pc:docMk/>
            <pc:sldMk cId="1381069072" sldId="1178"/>
            <ac:cxnSpMk id="134" creationId="{95843BD1-3AB5-F9F9-E9A0-1666AAA3E293}"/>
          </ac:cxnSpMkLst>
        </pc:cxnChg>
        <pc:cxnChg chg="mod">
          <ac:chgData name="Devraj, Keerthi (DI SW ICS ICV OS)" userId="a61e6969-d85e-42d5-913e-c7fe6fb96353" providerId="ADAL" clId="{D647A2E0-F33C-49FA-934C-DBBFA9A485FC}" dt="2023-03-15T11:59:09.763" v="1109"/>
          <ac:cxnSpMkLst>
            <pc:docMk/>
            <pc:sldMk cId="1381069072" sldId="1178"/>
            <ac:cxnSpMk id="135" creationId="{A12E9765-CD40-AED1-D382-31120CC7E8D2}"/>
          </ac:cxnSpMkLst>
        </pc:cxnChg>
        <pc:cxnChg chg="mod">
          <ac:chgData name="Devraj, Keerthi (DI SW ICS ICV OS)" userId="a61e6969-d85e-42d5-913e-c7fe6fb96353" providerId="ADAL" clId="{D647A2E0-F33C-49FA-934C-DBBFA9A485FC}" dt="2023-03-15T11:59:09.763" v="1109"/>
          <ac:cxnSpMkLst>
            <pc:docMk/>
            <pc:sldMk cId="1381069072" sldId="1178"/>
            <ac:cxnSpMk id="136" creationId="{B957F71B-03DE-9CCA-16C2-5065E1BAB66D}"/>
          </ac:cxnSpMkLst>
        </pc:cxnChg>
        <pc:cxnChg chg="mod">
          <ac:chgData name="Devraj, Keerthi (DI SW ICS ICV OS)" userId="a61e6969-d85e-42d5-913e-c7fe6fb96353" providerId="ADAL" clId="{D647A2E0-F33C-49FA-934C-DBBFA9A485FC}" dt="2023-03-15T11:59:09.763" v="1109"/>
          <ac:cxnSpMkLst>
            <pc:docMk/>
            <pc:sldMk cId="1381069072" sldId="1178"/>
            <ac:cxnSpMk id="137" creationId="{BE7043E1-05D7-5F2B-93CB-A59D7587F647}"/>
          </ac:cxnSpMkLst>
        </pc:cxnChg>
        <pc:cxnChg chg="mod">
          <ac:chgData name="Devraj, Keerthi (DI SW ICS ICV OS)" userId="a61e6969-d85e-42d5-913e-c7fe6fb96353" providerId="ADAL" clId="{D647A2E0-F33C-49FA-934C-DBBFA9A485FC}" dt="2023-03-15T11:59:09.763" v="1109"/>
          <ac:cxnSpMkLst>
            <pc:docMk/>
            <pc:sldMk cId="1381069072" sldId="1178"/>
            <ac:cxnSpMk id="139" creationId="{5DA85BE1-B900-6324-2204-6EC7817E4D8F}"/>
          </ac:cxnSpMkLst>
        </pc:cxnChg>
        <pc:cxnChg chg="mod">
          <ac:chgData name="Devraj, Keerthi (DI SW ICS ICV OS)" userId="a61e6969-d85e-42d5-913e-c7fe6fb96353" providerId="ADAL" clId="{D647A2E0-F33C-49FA-934C-DBBFA9A485FC}" dt="2023-03-15T11:59:09.763" v="1109"/>
          <ac:cxnSpMkLst>
            <pc:docMk/>
            <pc:sldMk cId="1381069072" sldId="1178"/>
            <ac:cxnSpMk id="146" creationId="{D1CCED37-72D5-F516-C024-747DDBD457CF}"/>
          </ac:cxnSpMkLst>
        </pc:cxnChg>
        <pc:cxnChg chg="mod">
          <ac:chgData name="Devraj, Keerthi (DI SW ICS ICV OS)" userId="a61e6969-d85e-42d5-913e-c7fe6fb96353" providerId="ADAL" clId="{D647A2E0-F33C-49FA-934C-DBBFA9A485FC}" dt="2023-03-15T11:59:09.763" v="1109"/>
          <ac:cxnSpMkLst>
            <pc:docMk/>
            <pc:sldMk cId="1381069072" sldId="1178"/>
            <ac:cxnSpMk id="147" creationId="{4550CD6A-FD81-AB47-49C8-F6ABF0F2DBF7}"/>
          </ac:cxnSpMkLst>
        </pc:cxnChg>
        <pc:cxnChg chg="mod">
          <ac:chgData name="Devraj, Keerthi (DI SW ICS ICV OS)" userId="a61e6969-d85e-42d5-913e-c7fe6fb96353" providerId="ADAL" clId="{D647A2E0-F33C-49FA-934C-DBBFA9A485FC}" dt="2023-03-15T11:59:09.763" v="1109"/>
          <ac:cxnSpMkLst>
            <pc:docMk/>
            <pc:sldMk cId="1381069072" sldId="1178"/>
            <ac:cxnSpMk id="148" creationId="{F4714AD0-72D0-ADEA-594E-323E7E57F716}"/>
          </ac:cxnSpMkLst>
        </pc:cxnChg>
        <pc:cxnChg chg="mod">
          <ac:chgData name="Devraj, Keerthi (DI SW ICS ICV OS)" userId="a61e6969-d85e-42d5-913e-c7fe6fb96353" providerId="ADAL" clId="{D647A2E0-F33C-49FA-934C-DBBFA9A485FC}" dt="2023-03-15T11:59:09.763" v="1109"/>
          <ac:cxnSpMkLst>
            <pc:docMk/>
            <pc:sldMk cId="1381069072" sldId="1178"/>
            <ac:cxnSpMk id="149" creationId="{1DC86CDF-6AAA-4742-73FC-4522A995DDFD}"/>
          </ac:cxnSpMkLst>
        </pc:cxnChg>
        <pc:cxnChg chg="mod">
          <ac:chgData name="Devraj, Keerthi (DI SW ICS ICV OS)" userId="a61e6969-d85e-42d5-913e-c7fe6fb96353" providerId="ADAL" clId="{D647A2E0-F33C-49FA-934C-DBBFA9A485FC}" dt="2023-03-15T11:59:09.763" v="1109"/>
          <ac:cxnSpMkLst>
            <pc:docMk/>
            <pc:sldMk cId="1381069072" sldId="1178"/>
            <ac:cxnSpMk id="150" creationId="{71E23E05-0BB0-31B2-7594-C6D92EFE1818}"/>
          </ac:cxnSpMkLst>
        </pc:cxnChg>
        <pc:cxnChg chg="mod">
          <ac:chgData name="Devraj, Keerthi (DI SW ICS ICV OS)" userId="a61e6969-d85e-42d5-913e-c7fe6fb96353" providerId="ADAL" clId="{D647A2E0-F33C-49FA-934C-DBBFA9A485FC}" dt="2023-03-15T11:59:09.763" v="1109"/>
          <ac:cxnSpMkLst>
            <pc:docMk/>
            <pc:sldMk cId="1381069072" sldId="1178"/>
            <ac:cxnSpMk id="152" creationId="{B9A6B9EF-D71C-0C7F-B507-7CFB6953AB9D}"/>
          </ac:cxnSpMkLst>
        </pc:cxnChg>
        <pc:cxnChg chg="mod">
          <ac:chgData name="Devraj, Keerthi (DI SW ICS ICV OS)" userId="a61e6969-d85e-42d5-913e-c7fe6fb96353" providerId="ADAL" clId="{D647A2E0-F33C-49FA-934C-DBBFA9A485FC}" dt="2023-03-15T11:59:09.763" v="1109"/>
          <ac:cxnSpMkLst>
            <pc:docMk/>
            <pc:sldMk cId="1381069072" sldId="1178"/>
            <ac:cxnSpMk id="159" creationId="{5A198927-F1EA-1C1D-258D-7E4EA70CB289}"/>
          </ac:cxnSpMkLst>
        </pc:cxnChg>
        <pc:cxnChg chg="mod">
          <ac:chgData name="Devraj, Keerthi (DI SW ICS ICV OS)" userId="a61e6969-d85e-42d5-913e-c7fe6fb96353" providerId="ADAL" clId="{D647A2E0-F33C-49FA-934C-DBBFA9A485FC}" dt="2023-03-15T11:59:09.763" v="1109"/>
          <ac:cxnSpMkLst>
            <pc:docMk/>
            <pc:sldMk cId="1381069072" sldId="1178"/>
            <ac:cxnSpMk id="160" creationId="{EA25C2E0-2617-E0B1-F7B2-BCBCC23EFDD1}"/>
          </ac:cxnSpMkLst>
        </pc:cxnChg>
        <pc:cxnChg chg="mod">
          <ac:chgData name="Devraj, Keerthi (DI SW ICS ICV OS)" userId="a61e6969-d85e-42d5-913e-c7fe6fb96353" providerId="ADAL" clId="{D647A2E0-F33C-49FA-934C-DBBFA9A485FC}" dt="2023-03-15T11:59:09.763" v="1109"/>
          <ac:cxnSpMkLst>
            <pc:docMk/>
            <pc:sldMk cId="1381069072" sldId="1178"/>
            <ac:cxnSpMk id="161" creationId="{99E45979-3559-9C6E-12D7-5919848CFEAD}"/>
          </ac:cxnSpMkLst>
        </pc:cxnChg>
        <pc:cxnChg chg="mod">
          <ac:chgData name="Devraj, Keerthi (DI SW ICS ICV OS)" userId="a61e6969-d85e-42d5-913e-c7fe6fb96353" providerId="ADAL" clId="{D647A2E0-F33C-49FA-934C-DBBFA9A485FC}" dt="2023-03-15T11:59:09.763" v="1109"/>
          <ac:cxnSpMkLst>
            <pc:docMk/>
            <pc:sldMk cId="1381069072" sldId="1178"/>
            <ac:cxnSpMk id="162" creationId="{FB79285A-ACD6-88BF-015A-B95B6353CE0E}"/>
          </ac:cxnSpMkLst>
        </pc:cxnChg>
        <pc:cxnChg chg="mod">
          <ac:chgData name="Devraj, Keerthi (DI SW ICS ICV OS)" userId="a61e6969-d85e-42d5-913e-c7fe6fb96353" providerId="ADAL" clId="{D647A2E0-F33C-49FA-934C-DBBFA9A485FC}" dt="2023-03-15T11:59:09.763" v="1109"/>
          <ac:cxnSpMkLst>
            <pc:docMk/>
            <pc:sldMk cId="1381069072" sldId="1178"/>
            <ac:cxnSpMk id="163" creationId="{029D9172-90B3-73E1-2A10-24382FC35BA8}"/>
          </ac:cxnSpMkLst>
        </pc:cxnChg>
        <pc:cxnChg chg="mod">
          <ac:chgData name="Devraj, Keerthi (DI SW ICS ICV OS)" userId="a61e6969-d85e-42d5-913e-c7fe6fb96353" providerId="ADAL" clId="{D647A2E0-F33C-49FA-934C-DBBFA9A485FC}" dt="2023-03-15T11:59:09.763" v="1109"/>
          <ac:cxnSpMkLst>
            <pc:docMk/>
            <pc:sldMk cId="1381069072" sldId="1178"/>
            <ac:cxnSpMk id="165" creationId="{0FF6B3AB-5ACE-2BA6-D61B-911BD28DEED1}"/>
          </ac:cxnSpMkLst>
        </pc:cxnChg>
        <pc:cxnChg chg="add mod">
          <ac:chgData name="Devraj, Keerthi (DI SW ICS ICV OS)" userId="a61e6969-d85e-42d5-913e-c7fe6fb96353" providerId="ADAL" clId="{D647A2E0-F33C-49FA-934C-DBBFA9A485FC}" dt="2023-03-15T11:59:14.993" v="1110" actId="1076"/>
          <ac:cxnSpMkLst>
            <pc:docMk/>
            <pc:sldMk cId="1381069072" sldId="1178"/>
            <ac:cxnSpMk id="168" creationId="{FAA434B2-2A3B-E8D3-71A9-CF5D1ED1BE8B}"/>
          </ac:cxnSpMkLst>
        </pc:cxnChg>
        <pc:cxnChg chg="add mod">
          <ac:chgData name="Devraj, Keerthi (DI SW ICS ICV OS)" userId="a61e6969-d85e-42d5-913e-c7fe6fb96353" providerId="ADAL" clId="{D647A2E0-F33C-49FA-934C-DBBFA9A485FC}" dt="2023-03-15T11:59:14.993" v="1110" actId="1076"/>
          <ac:cxnSpMkLst>
            <pc:docMk/>
            <pc:sldMk cId="1381069072" sldId="1178"/>
            <ac:cxnSpMk id="169" creationId="{4B4456CE-8F3A-FA58-13F9-0C952930DA34}"/>
          </ac:cxnSpMkLst>
        </pc:cxnChg>
        <pc:cxnChg chg="add mod">
          <ac:chgData name="Devraj, Keerthi (DI SW ICS ICV OS)" userId="a61e6969-d85e-42d5-913e-c7fe6fb96353" providerId="ADAL" clId="{D647A2E0-F33C-49FA-934C-DBBFA9A485FC}" dt="2023-03-15T11:59:14.993" v="1110" actId="1076"/>
          <ac:cxnSpMkLst>
            <pc:docMk/>
            <pc:sldMk cId="1381069072" sldId="1178"/>
            <ac:cxnSpMk id="170" creationId="{CF870B5C-5C67-E855-FCCE-58DEF22B3D21}"/>
          </ac:cxnSpMkLst>
        </pc:cxnChg>
        <pc:cxnChg chg="add mod">
          <ac:chgData name="Devraj, Keerthi (DI SW ICS ICV OS)" userId="a61e6969-d85e-42d5-913e-c7fe6fb96353" providerId="ADAL" clId="{D647A2E0-F33C-49FA-934C-DBBFA9A485FC}" dt="2023-03-15T11:59:14.993" v="1110" actId="1076"/>
          <ac:cxnSpMkLst>
            <pc:docMk/>
            <pc:sldMk cId="1381069072" sldId="1178"/>
            <ac:cxnSpMk id="171" creationId="{949DD950-649E-D6BB-0B42-D1556F635FAA}"/>
          </ac:cxnSpMkLst>
        </pc:cxnChg>
        <pc:cxnChg chg="add mod">
          <ac:chgData name="Devraj, Keerthi (DI SW ICS ICV OS)" userId="a61e6969-d85e-42d5-913e-c7fe6fb96353" providerId="ADAL" clId="{D647A2E0-F33C-49FA-934C-DBBFA9A485FC}" dt="2023-03-15T11:59:14.993" v="1110" actId="1076"/>
          <ac:cxnSpMkLst>
            <pc:docMk/>
            <pc:sldMk cId="1381069072" sldId="1178"/>
            <ac:cxnSpMk id="172" creationId="{E731850A-B6B7-41CE-01ED-ED5462C03730}"/>
          </ac:cxnSpMkLst>
        </pc:cxnChg>
        <pc:cxnChg chg="add mod">
          <ac:chgData name="Devraj, Keerthi (DI SW ICS ICV OS)" userId="a61e6969-d85e-42d5-913e-c7fe6fb96353" providerId="ADAL" clId="{D647A2E0-F33C-49FA-934C-DBBFA9A485FC}" dt="2023-03-15T11:59:14.993" v="1110" actId="1076"/>
          <ac:cxnSpMkLst>
            <pc:docMk/>
            <pc:sldMk cId="1381069072" sldId="1178"/>
            <ac:cxnSpMk id="173" creationId="{497AA1D2-1259-0943-C973-B643F3D897C9}"/>
          </ac:cxnSpMkLst>
        </pc:cxnChg>
        <pc:cxnChg chg="add mod">
          <ac:chgData name="Devraj, Keerthi (DI SW ICS ICV OS)" userId="a61e6969-d85e-42d5-913e-c7fe6fb96353" providerId="ADAL" clId="{D647A2E0-F33C-49FA-934C-DBBFA9A485FC}" dt="2023-03-15T11:59:14.993" v="1110" actId="1076"/>
          <ac:cxnSpMkLst>
            <pc:docMk/>
            <pc:sldMk cId="1381069072" sldId="1178"/>
            <ac:cxnSpMk id="174" creationId="{81D17B5F-2E50-D369-3B01-BB26677C3BA5}"/>
          </ac:cxnSpMkLst>
        </pc:cxnChg>
        <pc:cxnChg chg="add mod">
          <ac:chgData name="Devraj, Keerthi (DI SW ICS ICV OS)" userId="a61e6969-d85e-42d5-913e-c7fe6fb96353" providerId="ADAL" clId="{D647A2E0-F33C-49FA-934C-DBBFA9A485FC}" dt="2023-03-15T11:59:14.993" v="1110" actId="1076"/>
          <ac:cxnSpMkLst>
            <pc:docMk/>
            <pc:sldMk cId="1381069072" sldId="1178"/>
            <ac:cxnSpMk id="175" creationId="{05605D4A-9DC5-70AF-99FC-A469EF6451B3}"/>
          </ac:cxnSpMkLst>
        </pc:cxnChg>
        <pc:cxnChg chg="add mod">
          <ac:chgData name="Devraj, Keerthi (DI SW ICS ICV OS)" userId="a61e6969-d85e-42d5-913e-c7fe6fb96353" providerId="ADAL" clId="{D647A2E0-F33C-49FA-934C-DBBFA9A485FC}" dt="2023-03-15T11:59:14.993" v="1110" actId="1076"/>
          <ac:cxnSpMkLst>
            <pc:docMk/>
            <pc:sldMk cId="1381069072" sldId="1178"/>
            <ac:cxnSpMk id="176" creationId="{65566577-82BB-D433-212A-B49F44EDA858}"/>
          </ac:cxnSpMkLst>
        </pc:cxnChg>
        <pc:cxnChg chg="add mod">
          <ac:chgData name="Devraj, Keerthi (DI SW ICS ICV OS)" userId="a61e6969-d85e-42d5-913e-c7fe6fb96353" providerId="ADAL" clId="{D647A2E0-F33C-49FA-934C-DBBFA9A485FC}" dt="2023-03-15T11:59:14.993" v="1110" actId="1076"/>
          <ac:cxnSpMkLst>
            <pc:docMk/>
            <pc:sldMk cId="1381069072" sldId="1178"/>
            <ac:cxnSpMk id="177" creationId="{74C869B4-0C57-1E31-359C-A8FAC99EC9BE}"/>
          </ac:cxnSpMkLst>
        </pc:cxnChg>
        <pc:cxnChg chg="add mod">
          <ac:chgData name="Devraj, Keerthi (DI SW ICS ICV OS)" userId="a61e6969-d85e-42d5-913e-c7fe6fb96353" providerId="ADAL" clId="{D647A2E0-F33C-49FA-934C-DBBFA9A485FC}" dt="2023-03-15T11:59:14.993" v="1110" actId="1076"/>
          <ac:cxnSpMkLst>
            <pc:docMk/>
            <pc:sldMk cId="1381069072" sldId="1178"/>
            <ac:cxnSpMk id="178" creationId="{BC2AA430-F181-E980-7A19-8F7E6F106EF3}"/>
          </ac:cxnSpMkLst>
        </pc:cxnChg>
        <pc:cxnChg chg="add mod">
          <ac:chgData name="Devraj, Keerthi (DI SW ICS ICV OS)" userId="a61e6969-d85e-42d5-913e-c7fe6fb96353" providerId="ADAL" clId="{D647A2E0-F33C-49FA-934C-DBBFA9A485FC}" dt="2023-03-15T11:59:14.993" v="1110" actId="1076"/>
          <ac:cxnSpMkLst>
            <pc:docMk/>
            <pc:sldMk cId="1381069072" sldId="1178"/>
            <ac:cxnSpMk id="179" creationId="{12AE3CDC-B303-E1E3-3CF8-BC03BABED4BA}"/>
          </ac:cxnSpMkLst>
        </pc:cxnChg>
        <pc:cxnChg chg="add mod">
          <ac:chgData name="Devraj, Keerthi (DI SW ICS ICV OS)" userId="a61e6969-d85e-42d5-913e-c7fe6fb96353" providerId="ADAL" clId="{D647A2E0-F33C-49FA-934C-DBBFA9A485FC}" dt="2023-03-15T11:59:14.993" v="1110" actId="1076"/>
          <ac:cxnSpMkLst>
            <pc:docMk/>
            <pc:sldMk cId="1381069072" sldId="1178"/>
            <ac:cxnSpMk id="180" creationId="{53E32A53-D8DC-F5F1-0AE1-E03BB2298BC6}"/>
          </ac:cxnSpMkLst>
        </pc:cxnChg>
        <pc:cxnChg chg="add mod">
          <ac:chgData name="Devraj, Keerthi (DI SW ICS ICV OS)" userId="a61e6969-d85e-42d5-913e-c7fe6fb96353" providerId="ADAL" clId="{D647A2E0-F33C-49FA-934C-DBBFA9A485FC}" dt="2023-03-15T11:59:14.993" v="1110" actId="1076"/>
          <ac:cxnSpMkLst>
            <pc:docMk/>
            <pc:sldMk cId="1381069072" sldId="1178"/>
            <ac:cxnSpMk id="193" creationId="{C94C459E-632A-F007-9F9E-849D2630CB50}"/>
          </ac:cxnSpMkLst>
        </pc:cxnChg>
        <pc:cxnChg chg="add mod">
          <ac:chgData name="Devraj, Keerthi (DI SW ICS ICV OS)" userId="a61e6969-d85e-42d5-913e-c7fe6fb96353" providerId="ADAL" clId="{D647A2E0-F33C-49FA-934C-DBBFA9A485FC}" dt="2023-03-15T11:59:14.993" v="1110" actId="1076"/>
          <ac:cxnSpMkLst>
            <pc:docMk/>
            <pc:sldMk cId="1381069072" sldId="1178"/>
            <ac:cxnSpMk id="194" creationId="{56A17FEB-0C96-4B50-E023-B576B3A0734D}"/>
          </ac:cxnSpMkLst>
        </pc:cxnChg>
      </pc:sldChg>
    </pc:docChg>
  </pc:docChgLst>
  <pc:docChgLst>
    <pc:chgData name="Devraj, Keerthi (DI SW ICS ICV OS)" userId="a61e6969-d85e-42d5-913e-c7fe6fb96353" providerId="ADAL" clId="{48AA1D62-B0CE-4774-A68D-44BF1CF9DFC8}"/>
    <pc:docChg chg="undo custSel mod addSld delSld modSld">
      <pc:chgData name="Devraj, Keerthi (DI SW ICS ICV OS)" userId="a61e6969-d85e-42d5-913e-c7fe6fb96353" providerId="ADAL" clId="{48AA1D62-B0CE-4774-A68D-44BF1CF9DFC8}" dt="2023-01-20T00:05:38.552" v="3254" actId="20577"/>
      <pc:docMkLst>
        <pc:docMk/>
      </pc:docMkLst>
      <pc:sldChg chg="del">
        <pc:chgData name="Devraj, Keerthi (DI SW ICS ICV OS)" userId="a61e6969-d85e-42d5-913e-c7fe6fb96353" providerId="ADAL" clId="{48AA1D62-B0CE-4774-A68D-44BF1CF9DFC8}" dt="2023-01-19T23:38:13.738" v="3007" actId="47"/>
        <pc:sldMkLst>
          <pc:docMk/>
          <pc:sldMk cId="3912503969" sldId="452"/>
        </pc:sldMkLst>
      </pc:sldChg>
      <pc:sldChg chg="modSp mod">
        <pc:chgData name="Devraj, Keerthi (DI SW ICS ICV OS)" userId="a61e6969-d85e-42d5-913e-c7fe6fb96353" providerId="ADAL" clId="{48AA1D62-B0CE-4774-A68D-44BF1CF9DFC8}" dt="2023-01-19T18:48:01.398" v="1440" actId="20577"/>
        <pc:sldMkLst>
          <pc:docMk/>
          <pc:sldMk cId="4047077203" sldId="453"/>
        </pc:sldMkLst>
        <pc:spChg chg="mod">
          <ac:chgData name="Devraj, Keerthi (DI SW ICS ICV OS)" userId="a61e6969-d85e-42d5-913e-c7fe6fb96353" providerId="ADAL" clId="{48AA1D62-B0CE-4774-A68D-44BF1CF9DFC8}" dt="2023-01-19T18:48:01.398" v="1440" actId="20577"/>
          <ac:spMkLst>
            <pc:docMk/>
            <pc:sldMk cId="4047077203" sldId="453"/>
            <ac:spMk id="3" creationId="{898CE0F1-5315-4EE2-B93D-C6DDDC77C5CC}"/>
          </ac:spMkLst>
        </pc:spChg>
      </pc:sldChg>
      <pc:sldChg chg="del">
        <pc:chgData name="Devraj, Keerthi (DI SW ICS ICV OS)" userId="a61e6969-d85e-42d5-913e-c7fe6fb96353" providerId="ADAL" clId="{48AA1D62-B0CE-4774-A68D-44BF1CF9DFC8}" dt="2023-01-19T23:38:13.738" v="3007" actId="47"/>
        <pc:sldMkLst>
          <pc:docMk/>
          <pc:sldMk cId="1595417781" sldId="454"/>
        </pc:sldMkLst>
      </pc:sldChg>
      <pc:sldChg chg="del">
        <pc:chgData name="Devraj, Keerthi (DI SW ICS ICV OS)" userId="a61e6969-d85e-42d5-913e-c7fe6fb96353" providerId="ADAL" clId="{48AA1D62-B0CE-4774-A68D-44BF1CF9DFC8}" dt="2023-01-19T23:38:13.738" v="3007" actId="47"/>
        <pc:sldMkLst>
          <pc:docMk/>
          <pc:sldMk cId="2273531529" sldId="455"/>
        </pc:sldMkLst>
      </pc:sldChg>
      <pc:sldChg chg="del">
        <pc:chgData name="Devraj, Keerthi (DI SW ICS ICV OS)" userId="a61e6969-d85e-42d5-913e-c7fe6fb96353" providerId="ADAL" clId="{48AA1D62-B0CE-4774-A68D-44BF1CF9DFC8}" dt="2023-01-19T23:38:13.738" v="3007" actId="47"/>
        <pc:sldMkLst>
          <pc:docMk/>
          <pc:sldMk cId="1945384810" sldId="456"/>
        </pc:sldMkLst>
      </pc:sldChg>
      <pc:sldChg chg="del">
        <pc:chgData name="Devraj, Keerthi (DI SW ICS ICV OS)" userId="a61e6969-d85e-42d5-913e-c7fe6fb96353" providerId="ADAL" clId="{48AA1D62-B0CE-4774-A68D-44BF1CF9DFC8}" dt="2023-01-19T23:38:13.738" v="3007" actId="47"/>
        <pc:sldMkLst>
          <pc:docMk/>
          <pc:sldMk cId="2845618804" sldId="457"/>
        </pc:sldMkLst>
      </pc:sldChg>
      <pc:sldChg chg="del">
        <pc:chgData name="Devraj, Keerthi (DI SW ICS ICV OS)" userId="a61e6969-d85e-42d5-913e-c7fe6fb96353" providerId="ADAL" clId="{48AA1D62-B0CE-4774-A68D-44BF1CF9DFC8}" dt="2023-01-19T23:38:13.738" v="3007" actId="47"/>
        <pc:sldMkLst>
          <pc:docMk/>
          <pc:sldMk cId="568948351" sldId="458"/>
        </pc:sldMkLst>
      </pc:sldChg>
      <pc:sldChg chg="del">
        <pc:chgData name="Devraj, Keerthi (DI SW ICS ICV OS)" userId="a61e6969-d85e-42d5-913e-c7fe6fb96353" providerId="ADAL" clId="{48AA1D62-B0CE-4774-A68D-44BF1CF9DFC8}" dt="2023-01-19T23:38:13.738" v="3007" actId="47"/>
        <pc:sldMkLst>
          <pc:docMk/>
          <pc:sldMk cId="2336123880" sldId="459"/>
        </pc:sldMkLst>
      </pc:sldChg>
      <pc:sldChg chg="del">
        <pc:chgData name="Devraj, Keerthi (DI SW ICS ICV OS)" userId="a61e6969-d85e-42d5-913e-c7fe6fb96353" providerId="ADAL" clId="{48AA1D62-B0CE-4774-A68D-44BF1CF9DFC8}" dt="2023-01-19T23:38:16.283" v="3008" actId="47"/>
        <pc:sldMkLst>
          <pc:docMk/>
          <pc:sldMk cId="1204694430" sldId="460"/>
        </pc:sldMkLst>
      </pc:sldChg>
      <pc:sldChg chg="del">
        <pc:chgData name="Devraj, Keerthi (DI SW ICS ICV OS)" userId="a61e6969-d85e-42d5-913e-c7fe6fb96353" providerId="ADAL" clId="{48AA1D62-B0CE-4774-A68D-44BF1CF9DFC8}" dt="2023-01-19T23:38:13.738" v="3007" actId="47"/>
        <pc:sldMkLst>
          <pc:docMk/>
          <pc:sldMk cId="3574328287" sldId="464"/>
        </pc:sldMkLst>
      </pc:sldChg>
      <pc:sldChg chg="del">
        <pc:chgData name="Devraj, Keerthi (DI SW ICS ICV OS)" userId="a61e6969-d85e-42d5-913e-c7fe6fb96353" providerId="ADAL" clId="{48AA1D62-B0CE-4774-A68D-44BF1CF9DFC8}" dt="2023-01-19T23:38:21.270" v="3010" actId="47"/>
        <pc:sldMkLst>
          <pc:docMk/>
          <pc:sldMk cId="2469307318" sldId="466"/>
        </pc:sldMkLst>
      </pc:sldChg>
      <pc:sldChg chg="del">
        <pc:chgData name="Devraj, Keerthi (DI SW ICS ICV OS)" userId="a61e6969-d85e-42d5-913e-c7fe6fb96353" providerId="ADAL" clId="{48AA1D62-B0CE-4774-A68D-44BF1CF9DFC8}" dt="2023-01-19T23:38:20.312" v="3009" actId="47"/>
        <pc:sldMkLst>
          <pc:docMk/>
          <pc:sldMk cId="2052638024" sldId="467"/>
        </pc:sldMkLst>
      </pc:sldChg>
      <pc:sldChg chg="del">
        <pc:chgData name="Devraj, Keerthi (DI SW ICS ICV OS)" userId="a61e6969-d85e-42d5-913e-c7fe6fb96353" providerId="ADAL" clId="{48AA1D62-B0CE-4774-A68D-44BF1CF9DFC8}" dt="2023-01-19T15:41:16.400" v="36" actId="47"/>
        <pc:sldMkLst>
          <pc:docMk/>
          <pc:sldMk cId="3324570350" sldId="468"/>
        </pc:sldMkLst>
      </pc:sldChg>
      <pc:sldChg chg="del">
        <pc:chgData name="Devraj, Keerthi (DI SW ICS ICV OS)" userId="a61e6969-d85e-42d5-913e-c7fe6fb96353" providerId="ADAL" clId="{48AA1D62-B0CE-4774-A68D-44BF1CF9DFC8}" dt="2023-01-19T23:38:13.738" v="3007" actId="47"/>
        <pc:sldMkLst>
          <pc:docMk/>
          <pc:sldMk cId="325603539" sldId="469"/>
        </pc:sldMkLst>
      </pc:sldChg>
      <pc:sldChg chg="del">
        <pc:chgData name="Devraj, Keerthi (DI SW ICS ICV OS)" userId="a61e6969-d85e-42d5-913e-c7fe6fb96353" providerId="ADAL" clId="{48AA1D62-B0CE-4774-A68D-44BF1CF9DFC8}" dt="2023-01-19T23:38:13.738" v="3007" actId="47"/>
        <pc:sldMkLst>
          <pc:docMk/>
          <pc:sldMk cId="1579260378" sldId="470"/>
        </pc:sldMkLst>
      </pc:sldChg>
      <pc:sldChg chg="del">
        <pc:chgData name="Devraj, Keerthi (DI SW ICS ICV OS)" userId="a61e6969-d85e-42d5-913e-c7fe6fb96353" providerId="ADAL" clId="{48AA1D62-B0CE-4774-A68D-44BF1CF9DFC8}" dt="2023-01-19T23:38:13.738" v="3007" actId="47"/>
        <pc:sldMkLst>
          <pc:docMk/>
          <pc:sldMk cId="710221399" sldId="471"/>
        </pc:sldMkLst>
      </pc:sldChg>
      <pc:sldChg chg="del">
        <pc:chgData name="Devraj, Keerthi (DI SW ICS ICV OS)" userId="a61e6969-d85e-42d5-913e-c7fe6fb96353" providerId="ADAL" clId="{48AA1D62-B0CE-4774-A68D-44BF1CF9DFC8}" dt="2023-01-19T23:38:13.738" v="3007" actId="47"/>
        <pc:sldMkLst>
          <pc:docMk/>
          <pc:sldMk cId="2490968731" sldId="472"/>
        </pc:sldMkLst>
      </pc:sldChg>
      <pc:sldChg chg="del">
        <pc:chgData name="Devraj, Keerthi (DI SW ICS ICV OS)" userId="a61e6969-d85e-42d5-913e-c7fe6fb96353" providerId="ADAL" clId="{48AA1D62-B0CE-4774-A68D-44BF1CF9DFC8}" dt="2023-01-19T23:38:13.738" v="3007" actId="47"/>
        <pc:sldMkLst>
          <pc:docMk/>
          <pc:sldMk cId="1363437684" sldId="474"/>
        </pc:sldMkLst>
      </pc:sldChg>
      <pc:sldChg chg="del">
        <pc:chgData name="Devraj, Keerthi (DI SW ICS ICV OS)" userId="a61e6969-d85e-42d5-913e-c7fe6fb96353" providerId="ADAL" clId="{48AA1D62-B0CE-4774-A68D-44BF1CF9DFC8}" dt="2023-01-19T23:38:13.738" v="3007" actId="47"/>
        <pc:sldMkLst>
          <pc:docMk/>
          <pc:sldMk cId="3732615225" sldId="475"/>
        </pc:sldMkLst>
      </pc:sldChg>
      <pc:sldChg chg="del">
        <pc:chgData name="Devraj, Keerthi (DI SW ICS ICV OS)" userId="a61e6969-d85e-42d5-913e-c7fe6fb96353" providerId="ADAL" clId="{48AA1D62-B0CE-4774-A68D-44BF1CF9DFC8}" dt="2023-01-19T23:38:13.738" v="3007" actId="47"/>
        <pc:sldMkLst>
          <pc:docMk/>
          <pc:sldMk cId="226711558" sldId="477"/>
        </pc:sldMkLst>
      </pc:sldChg>
      <pc:sldChg chg="del">
        <pc:chgData name="Devraj, Keerthi (DI SW ICS ICV OS)" userId="a61e6969-d85e-42d5-913e-c7fe6fb96353" providerId="ADAL" clId="{48AA1D62-B0CE-4774-A68D-44BF1CF9DFC8}" dt="2023-01-19T23:38:13.738" v="3007" actId="47"/>
        <pc:sldMkLst>
          <pc:docMk/>
          <pc:sldMk cId="3261587978" sldId="478"/>
        </pc:sldMkLst>
      </pc:sldChg>
      <pc:sldChg chg="del">
        <pc:chgData name="Devraj, Keerthi (DI SW ICS ICV OS)" userId="a61e6969-d85e-42d5-913e-c7fe6fb96353" providerId="ADAL" clId="{48AA1D62-B0CE-4774-A68D-44BF1CF9DFC8}" dt="2023-01-19T15:41:18.281" v="37" actId="47"/>
        <pc:sldMkLst>
          <pc:docMk/>
          <pc:sldMk cId="2593661592" sldId="479"/>
        </pc:sldMkLst>
      </pc:sldChg>
      <pc:sldChg chg="addSp delSp modSp mod">
        <pc:chgData name="Devraj, Keerthi (DI SW ICS ICV OS)" userId="a61e6969-d85e-42d5-913e-c7fe6fb96353" providerId="ADAL" clId="{48AA1D62-B0CE-4774-A68D-44BF1CF9DFC8}" dt="2023-01-19T19:02:55.581" v="1855" actId="6549"/>
        <pc:sldMkLst>
          <pc:docMk/>
          <pc:sldMk cId="3120581012" sldId="480"/>
        </pc:sldMkLst>
        <pc:spChg chg="mod">
          <ac:chgData name="Devraj, Keerthi (DI SW ICS ICV OS)" userId="a61e6969-d85e-42d5-913e-c7fe6fb96353" providerId="ADAL" clId="{48AA1D62-B0CE-4774-A68D-44BF1CF9DFC8}" dt="2023-01-19T19:02:55.581" v="1855" actId="6549"/>
          <ac:spMkLst>
            <pc:docMk/>
            <pc:sldMk cId="3120581012" sldId="480"/>
            <ac:spMk id="2" creationId="{C55C16BD-EA5C-4958-A62D-34A6BDF7811B}"/>
          </ac:spMkLst>
        </pc:spChg>
        <pc:spChg chg="add mod">
          <ac:chgData name="Devraj, Keerthi (DI SW ICS ICV OS)" userId="a61e6969-d85e-42d5-913e-c7fe6fb96353" providerId="ADAL" clId="{48AA1D62-B0CE-4774-A68D-44BF1CF9DFC8}" dt="2023-01-19T16:14:33.995" v="441" actId="164"/>
          <ac:spMkLst>
            <pc:docMk/>
            <pc:sldMk cId="3120581012" sldId="480"/>
            <ac:spMk id="6" creationId="{CA7D1853-C833-4240-BE4B-81CCD1205056}"/>
          </ac:spMkLst>
        </pc:spChg>
        <pc:spChg chg="add mod ord">
          <ac:chgData name="Devraj, Keerthi (DI SW ICS ICV OS)" userId="a61e6969-d85e-42d5-913e-c7fe6fb96353" providerId="ADAL" clId="{48AA1D62-B0CE-4774-A68D-44BF1CF9DFC8}" dt="2023-01-19T18:52:18.572" v="1628" actId="167"/>
          <ac:spMkLst>
            <pc:docMk/>
            <pc:sldMk cId="3120581012" sldId="480"/>
            <ac:spMk id="12" creationId="{211B4C49-5CA1-4573-90AC-A842213C3A72}"/>
          </ac:spMkLst>
        </pc:spChg>
        <pc:spChg chg="del">
          <ac:chgData name="Devraj, Keerthi (DI SW ICS ICV OS)" userId="a61e6969-d85e-42d5-913e-c7fe6fb96353" providerId="ADAL" clId="{48AA1D62-B0CE-4774-A68D-44BF1CF9DFC8}" dt="2023-01-19T15:41:45.279" v="56" actId="478"/>
          <ac:spMkLst>
            <pc:docMk/>
            <pc:sldMk cId="3120581012" sldId="480"/>
            <ac:spMk id="30" creationId="{98954F74-D914-4015-BBD0-494AA76B4B4D}"/>
          </ac:spMkLst>
        </pc:spChg>
        <pc:spChg chg="add del mod">
          <ac:chgData name="Devraj, Keerthi (DI SW ICS ICV OS)" userId="a61e6969-d85e-42d5-913e-c7fe6fb96353" providerId="ADAL" clId="{48AA1D62-B0CE-4774-A68D-44BF1CF9DFC8}" dt="2023-01-19T18:49:03.302" v="1561" actId="478"/>
          <ac:spMkLst>
            <pc:docMk/>
            <pc:sldMk cId="3120581012" sldId="480"/>
            <ac:spMk id="60" creationId="{11DCF9CD-2D70-4823-89D9-AA38F23DA634}"/>
          </ac:spMkLst>
        </pc:spChg>
        <pc:spChg chg="add mod">
          <ac:chgData name="Devraj, Keerthi (DI SW ICS ICV OS)" userId="a61e6969-d85e-42d5-913e-c7fe6fb96353" providerId="ADAL" clId="{48AA1D62-B0CE-4774-A68D-44BF1CF9DFC8}" dt="2023-01-19T16:14:33.995" v="441" actId="164"/>
          <ac:spMkLst>
            <pc:docMk/>
            <pc:sldMk cId="3120581012" sldId="480"/>
            <ac:spMk id="61" creationId="{61599EC2-C89E-4ECE-820B-4B1E5A7DCD41}"/>
          </ac:spMkLst>
        </pc:spChg>
        <pc:spChg chg="add mod">
          <ac:chgData name="Devraj, Keerthi (DI SW ICS ICV OS)" userId="a61e6969-d85e-42d5-913e-c7fe6fb96353" providerId="ADAL" clId="{48AA1D62-B0CE-4774-A68D-44BF1CF9DFC8}" dt="2023-01-19T16:14:33.995" v="441" actId="164"/>
          <ac:spMkLst>
            <pc:docMk/>
            <pc:sldMk cId="3120581012" sldId="480"/>
            <ac:spMk id="62" creationId="{63CC6D52-CD12-4794-8068-BC42F747C367}"/>
          </ac:spMkLst>
        </pc:spChg>
        <pc:spChg chg="add mod">
          <ac:chgData name="Devraj, Keerthi (DI SW ICS ICV OS)" userId="a61e6969-d85e-42d5-913e-c7fe6fb96353" providerId="ADAL" clId="{48AA1D62-B0CE-4774-A68D-44BF1CF9DFC8}" dt="2023-01-19T16:14:33.995" v="441" actId="164"/>
          <ac:spMkLst>
            <pc:docMk/>
            <pc:sldMk cId="3120581012" sldId="480"/>
            <ac:spMk id="63" creationId="{9CCB3A0D-53F7-49E9-B719-B6E150EAF54B}"/>
          </ac:spMkLst>
        </pc:spChg>
        <pc:spChg chg="add del mod">
          <ac:chgData name="Devraj, Keerthi (DI SW ICS ICV OS)" userId="a61e6969-d85e-42d5-913e-c7fe6fb96353" providerId="ADAL" clId="{48AA1D62-B0CE-4774-A68D-44BF1CF9DFC8}" dt="2023-01-19T18:49:12.231" v="1563" actId="478"/>
          <ac:spMkLst>
            <pc:docMk/>
            <pc:sldMk cId="3120581012" sldId="480"/>
            <ac:spMk id="64" creationId="{AFFFD158-119A-44EA-98C8-3AE8F18AA076}"/>
          </ac:spMkLst>
        </pc:spChg>
        <pc:spChg chg="add mod">
          <ac:chgData name="Devraj, Keerthi (DI SW ICS ICV OS)" userId="a61e6969-d85e-42d5-913e-c7fe6fb96353" providerId="ADAL" clId="{48AA1D62-B0CE-4774-A68D-44BF1CF9DFC8}" dt="2023-01-19T16:14:33.995" v="441" actId="164"/>
          <ac:spMkLst>
            <pc:docMk/>
            <pc:sldMk cId="3120581012" sldId="480"/>
            <ac:spMk id="65" creationId="{8CEFC751-857A-4066-A4B4-7E520B224D1E}"/>
          </ac:spMkLst>
        </pc:spChg>
        <pc:spChg chg="add del mod">
          <ac:chgData name="Devraj, Keerthi (DI SW ICS ICV OS)" userId="a61e6969-d85e-42d5-913e-c7fe6fb96353" providerId="ADAL" clId="{48AA1D62-B0CE-4774-A68D-44BF1CF9DFC8}" dt="2023-01-19T18:49:20.233" v="1566" actId="478"/>
          <ac:spMkLst>
            <pc:docMk/>
            <pc:sldMk cId="3120581012" sldId="480"/>
            <ac:spMk id="66" creationId="{3ECDC161-9174-4904-B93B-C612169946A4}"/>
          </ac:spMkLst>
        </pc:spChg>
        <pc:spChg chg="add mod">
          <ac:chgData name="Devraj, Keerthi (DI SW ICS ICV OS)" userId="a61e6969-d85e-42d5-913e-c7fe6fb96353" providerId="ADAL" clId="{48AA1D62-B0CE-4774-A68D-44BF1CF9DFC8}" dt="2023-01-19T18:53:24.838" v="1649" actId="12"/>
          <ac:spMkLst>
            <pc:docMk/>
            <pc:sldMk cId="3120581012" sldId="480"/>
            <ac:spMk id="67" creationId="{CEA36EDD-72FE-45CF-B714-97A3DBB6E09F}"/>
          </ac:spMkLst>
        </pc:spChg>
        <pc:spChg chg="add del mod">
          <ac:chgData name="Devraj, Keerthi (DI SW ICS ICV OS)" userId="a61e6969-d85e-42d5-913e-c7fe6fb96353" providerId="ADAL" clId="{48AA1D62-B0CE-4774-A68D-44BF1CF9DFC8}" dt="2023-01-19T18:49:18.614" v="1565" actId="478"/>
          <ac:spMkLst>
            <pc:docMk/>
            <pc:sldMk cId="3120581012" sldId="480"/>
            <ac:spMk id="68" creationId="{B56E0B45-C8B6-40D1-956C-E89E8DC49F4C}"/>
          </ac:spMkLst>
        </pc:spChg>
        <pc:spChg chg="add mod">
          <ac:chgData name="Devraj, Keerthi (DI SW ICS ICV OS)" userId="a61e6969-d85e-42d5-913e-c7fe6fb96353" providerId="ADAL" clId="{48AA1D62-B0CE-4774-A68D-44BF1CF9DFC8}" dt="2023-01-19T18:49:15.752" v="1564" actId="1076"/>
          <ac:spMkLst>
            <pc:docMk/>
            <pc:sldMk cId="3120581012" sldId="480"/>
            <ac:spMk id="70" creationId="{8A3AC93A-0C0F-4CDA-A4F2-251FDED53C0E}"/>
          </ac:spMkLst>
        </pc:spChg>
        <pc:spChg chg="add del">
          <ac:chgData name="Devraj, Keerthi (DI SW ICS ICV OS)" userId="a61e6969-d85e-42d5-913e-c7fe6fb96353" providerId="ADAL" clId="{48AA1D62-B0CE-4774-A68D-44BF1CF9DFC8}" dt="2023-01-19T16:08:09.116" v="225" actId="22"/>
          <ac:spMkLst>
            <pc:docMk/>
            <pc:sldMk cId="3120581012" sldId="480"/>
            <ac:spMk id="72" creationId="{119BBC37-FA2C-45D4-9DAF-D9FD4BB8311C}"/>
          </ac:spMkLst>
        </pc:spChg>
        <pc:spChg chg="add del mod">
          <ac:chgData name="Devraj, Keerthi (DI SW ICS ICV OS)" userId="a61e6969-d85e-42d5-913e-c7fe6fb96353" providerId="ADAL" clId="{48AA1D62-B0CE-4774-A68D-44BF1CF9DFC8}" dt="2023-01-19T16:12:44.285" v="362" actId="478"/>
          <ac:spMkLst>
            <pc:docMk/>
            <pc:sldMk cId="3120581012" sldId="480"/>
            <ac:spMk id="74" creationId="{9E3C8665-6FE4-40B6-AC61-498D4032F72A}"/>
          </ac:spMkLst>
        </pc:spChg>
        <pc:spChg chg="add mod">
          <ac:chgData name="Devraj, Keerthi (DI SW ICS ICV OS)" userId="a61e6969-d85e-42d5-913e-c7fe6fb96353" providerId="ADAL" clId="{48AA1D62-B0CE-4774-A68D-44BF1CF9DFC8}" dt="2023-01-19T18:49:26.615" v="1569" actId="1076"/>
          <ac:spMkLst>
            <pc:docMk/>
            <pc:sldMk cId="3120581012" sldId="480"/>
            <ac:spMk id="80" creationId="{DF201288-C4EA-42A5-B33D-C1DE3DAB29F0}"/>
          </ac:spMkLst>
        </pc:spChg>
        <pc:spChg chg="add del mod">
          <ac:chgData name="Devraj, Keerthi (DI SW ICS ICV OS)" userId="a61e6969-d85e-42d5-913e-c7fe6fb96353" providerId="ADAL" clId="{48AA1D62-B0CE-4774-A68D-44BF1CF9DFC8}" dt="2023-01-19T17:51:04.842" v="1391" actId="478"/>
          <ac:spMkLst>
            <pc:docMk/>
            <pc:sldMk cId="3120581012" sldId="480"/>
            <ac:spMk id="81" creationId="{9B2721D5-DCD7-46A2-B346-3D722A4A6CBA}"/>
          </ac:spMkLst>
        </pc:spChg>
        <pc:spChg chg="add del mod">
          <ac:chgData name="Devraj, Keerthi (DI SW ICS ICV OS)" userId="a61e6969-d85e-42d5-913e-c7fe6fb96353" providerId="ADAL" clId="{48AA1D62-B0CE-4774-A68D-44BF1CF9DFC8}" dt="2023-01-19T18:49:22.266" v="1567" actId="478"/>
          <ac:spMkLst>
            <pc:docMk/>
            <pc:sldMk cId="3120581012" sldId="480"/>
            <ac:spMk id="82" creationId="{C44B1CA2-255C-48E7-A629-3EC3FD8A01C2}"/>
          </ac:spMkLst>
        </pc:spChg>
        <pc:spChg chg="mod">
          <ac:chgData name="Devraj, Keerthi (DI SW ICS ICV OS)" userId="a61e6969-d85e-42d5-913e-c7fe6fb96353" providerId="ADAL" clId="{48AA1D62-B0CE-4774-A68D-44BF1CF9DFC8}" dt="2023-01-19T18:51:53.135" v="1620"/>
          <ac:spMkLst>
            <pc:docMk/>
            <pc:sldMk cId="3120581012" sldId="480"/>
            <ac:spMk id="84" creationId="{EFD89729-4DBF-475B-82EE-1625225F6531}"/>
          </ac:spMkLst>
        </pc:spChg>
        <pc:spChg chg="mod">
          <ac:chgData name="Devraj, Keerthi (DI SW ICS ICV OS)" userId="a61e6969-d85e-42d5-913e-c7fe6fb96353" providerId="ADAL" clId="{48AA1D62-B0CE-4774-A68D-44BF1CF9DFC8}" dt="2023-01-19T18:51:53.135" v="1620"/>
          <ac:spMkLst>
            <pc:docMk/>
            <pc:sldMk cId="3120581012" sldId="480"/>
            <ac:spMk id="85" creationId="{8814DB6F-D37E-4B09-9F4E-4977DFFC60FD}"/>
          </ac:spMkLst>
        </pc:spChg>
        <pc:spChg chg="mod">
          <ac:chgData name="Devraj, Keerthi (DI SW ICS ICV OS)" userId="a61e6969-d85e-42d5-913e-c7fe6fb96353" providerId="ADAL" clId="{48AA1D62-B0CE-4774-A68D-44BF1CF9DFC8}" dt="2023-01-19T18:51:53.135" v="1620"/>
          <ac:spMkLst>
            <pc:docMk/>
            <pc:sldMk cId="3120581012" sldId="480"/>
            <ac:spMk id="87" creationId="{B0C363C3-E636-48A3-869A-3927164FC8B5}"/>
          </ac:spMkLst>
        </pc:spChg>
        <pc:spChg chg="mod">
          <ac:chgData name="Devraj, Keerthi (DI SW ICS ICV OS)" userId="a61e6969-d85e-42d5-913e-c7fe6fb96353" providerId="ADAL" clId="{48AA1D62-B0CE-4774-A68D-44BF1CF9DFC8}" dt="2023-01-19T18:51:53.135" v="1620"/>
          <ac:spMkLst>
            <pc:docMk/>
            <pc:sldMk cId="3120581012" sldId="480"/>
            <ac:spMk id="89" creationId="{9205464B-022F-479D-9C6F-D1E361499E9F}"/>
          </ac:spMkLst>
        </pc:spChg>
        <pc:spChg chg="mod">
          <ac:chgData name="Devraj, Keerthi (DI SW ICS ICV OS)" userId="a61e6969-d85e-42d5-913e-c7fe6fb96353" providerId="ADAL" clId="{48AA1D62-B0CE-4774-A68D-44BF1CF9DFC8}" dt="2023-01-19T18:51:53.135" v="1620"/>
          <ac:spMkLst>
            <pc:docMk/>
            <pc:sldMk cId="3120581012" sldId="480"/>
            <ac:spMk id="90" creationId="{329810AA-3A38-4DA2-9DE5-1D01D6C390B9}"/>
          </ac:spMkLst>
        </pc:spChg>
        <pc:spChg chg="mod">
          <ac:chgData name="Devraj, Keerthi (DI SW ICS ICV OS)" userId="a61e6969-d85e-42d5-913e-c7fe6fb96353" providerId="ADAL" clId="{48AA1D62-B0CE-4774-A68D-44BF1CF9DFC8}" dt="2023-01-19T18:51:53.135" v="1620"/>
          <ac:spMkLst>
            <pc:docMk/>
            <pc:sldMk cId="3120581012" sldId="480"/>
            <ac:spMk id="91" creationId="{1DDA1146-55B5-4C95-90FF-CED46B67C2BB}"/>
          </ac:spMkLst>
        </pc:spChg>
        <pc:spChg chg="add del mod">
          <ac:chgData name="Devraj, Keerthi (DI SW ICS ICV OS)" userId="a61e6969-d85e-42d5-913e-c7fe6fb96353" providerId="ADAL" clId="{48AA1D62-B0CE-4774-A68D-44BF1CF9DFC8}" dt="2023-01-19T18:53:05.352" v="1646" actId="478"/>
          <ac:spMkLst>
            <pc:docMk/>
            <pc:sldMk cId="3120581012" sldId="480"/>
            <ac:spMk id="94" creationId="{82D11A15-92D6-4EB2-9EB4-737FC1EC5E1E}"/>
          </ac:spMkLst>
        </pc:spChg>
        <pc:spChg chg="add del mod ord">
          <ac:chgData name="Devraj, Keerthi (DI SW ICS ICV OS)" userId="a61e6969-d85e-42d5-913e-c7fe6fb96353" providerId="ADAL" clId="{48AA1D62-B0CE-4774-A68D-44BF1CF9DFC8}" dt="2023-01-19T18:53:03.562" v="1645" actId="478"/>
          <ac:spMkLst>
            <pc:docMk/>
            <pc:sldMk cId="3120581012" sldId="480"/>
            <ac:spMk id="95" creationId="{1A301A98-F3F2-4F6E-85FA-3B7EF031B730}"/>
          </ac:spMkLst>
        </pc:spChg>
        <pc:spChg chg="add del mod">
          <ac:chgData name="Devraj, Keerthi (DI SW ICS ICV OS)" userId="a61e6969-d85e-42d5-913e-c7fe6fb96353" providerId="ADAL" clId="{48AA1D62-B0CE-4774-A68D-44BF1CF9DFC8}" dt="2023-01-19T18:53:08.630" v="1647" actId="478"/>
          <ac:spMkLst>
            <pc:docMk/>
            <pc:sldMk cId="3120581012" sldId="480"/>
            <ac:spMk id="97" creationId="{9396B6C7-5631-43D8-B25A-A2EFFC18B729}"/>
          </ac:spMkLst>
        </pc:spChg>
        <pc:spChg chg="add del mod">
          <ac:chgData name="Devraj, Keerthi (DI SW ICS ICV OS)" userId="a61e6969-d85e-42d5-913e-c7fe6fb96353" providerId="ADAL" clId="{48AA1D62-B0CE-4774-A68D-44BF1CF9DFC8}" dt="2023-01-19T18:53:05.352" v="1646" actId="478"/>
          <ac:spMkLst>
            <pc:docMk/>
            <pc:sldMk cId="3120581012" sldId="480"/>
            <ac:spMk id="98" creationId="{26BA77CE-2551-4325-932A-E06BA474977D}"/>
          </ac:spMkLst>
        </pc:spChg>
        <pc:spChg chg="del">
          <ac:chgData name="Devraj, Keerthi (DI SW ICS ICV OS)" userId="a61e6969-d85e-42d5-913e-c7fe6fb96353" providerId="ADAL" clId="{48AA1D62-B0CE-4774-A68D-44BF1CF9DFC8}" dt="2023-01-19T15:41:45.279" v="56" actId="478"/>
          <ac:spMkLst>
            <pc:docMk/>
            <pc:sldMk cId="3120581012" sldId="480"/>
            <ac:spMk id="110" creationId="{9A9212A9-DEE2-4D4F-8299-611470D93DCD}"/>
          </ac:spMkLst>
        </pc:spChg>
        <pc:spChg chg="del">
          <ac:chgData name="Devraj, Keerthi (DI SW ICS ICV OS)" userId="a61e6969-d85e-42d5-913e-c7fe6fb96353" providerId="ADAL" clId="{48AA1D62-B0CE-4774-A68D-44BF1CF9DFC8}" dt="2023-01-19T15:41:45.279" v="56" actId="478"/>
          <ac:spMkLst>
            <pc:docMk/>
            <pc:sldMk cId="3120581012" sldId="480"/>
            <ac:spMk id="132" creationId="{F57CA9FD-3F5F-4CE3-BD39-E5DB9D249122}"/>
          </ac:spMkLst>
        </pc:spChg>
        <pc:spChg chg="del">
          <ac:chgData name="Devraj, Keerthi (DI SW ICS ICV OS)" userId="a61e6969-d85e-42d5-913e-c7fe6fb96353" providerId="ADAL" clId="{48AA1D62-B0CE-4774-A68D-44BF1CF9DFC8}" dt="2023-01-19T15:41:45.279" v="56" actId="478"/>
          <ac:spMkLst>
            <pc:docMk/>
            <pc:sldMk cId="3120581012" sldId="480"/>
            <ac:spMk id="133" creationId="{B842A248-A982-4E39-A8DF-B59A6BEE13B1}"/>
          </ac:spMkLst>
        </pc:spChg>
        <pc:spChg chg="del">
          <ac:chgData name="Devraj, Keerthi (DI SW ICS ICV OS)" userId="a61e6969-d85e-42d5-913e-c7fe6fb96353" providerId="ADAL" clId="{48AA1D62-B0CE-4774-A68D-44BF1CF9DFC8}" dt="2023-01-19T15:41:45.279" v="56" actId="478"/>
          <ac:spMkLst>
            <pc:docMk/>
            <pc:sldMk cId="3120581012" sldId="480"/>
            <ac:spMk id="134" creationId="{8933343F-DE82-47F4-B363-7EF11E724182}"/>
          </ac:spMkLst>
        </pc:spChg>
        <pc:spChg chg="del">
          <ac:chgData name="Devraj, Keerthi (DI SW ICS ICV OS)" userId="a61e6969-d85e-42d5-913e-c7fe6fb96353" providerId="ADAL" clId="{48AA1D62-B0CE-4774-A68D-44BF1CF9DFC8}" dt="2023-01-19T15:41:45.279" v="56" actId="478"/>
          <ac:spMkLst>
            <pc:docMk/>
            <pc:sldMk cId="3120581012" sldId="480"/>
            <ac:spMk id="142" creationId="{4BE73AB1-4923-437B-A33F-4071AC835052}"/>
          </ac:spMkLst>
        </pc:spChg>
        <pc:spChg chg="del">
          <ac:chgData name="Devraj, Keerthi (DI SW ICS ICV OS)" userId="a61e6969-d85e-42d5-913e-c7fe6fb96353" providerId="ADAL" clId="{48AA1D62-B0CE-4774-A68D-44BF1CF9DFC8}" dt="2023-01-19T15:41:45.279" v="56" actId="478"/>
          <ac:spMkLst>
            <pc:docMk/>
            <pc:sldMk cId="3120581012" sldId="480"/>
            <ac:spMk id="149" creationId="{9E9501FF-E997-4181-8E0C-E79FF1EF48DE}"/>
          </ac:spMkLst>
        </pc:spChg>
        <pc:grpChg chg="add mod">
          <ac:chgData name="Devraj, Keerthi (DI SW ICS ICV OS)" userId="a61e6969-d85e-42d5-913e-c7fe6fb96353" providerId="ADAL" clId="{48AA1D62-B0CE-4774-A68D-44BF1CF9DFC8}" dt="2023-01-19T16:14:33.995" v="441" actId="164"/>
          <ac:grpSpMkLst>
            <pc:docMk/>
            <pc:sldMk cId="3120581012" sldId="480"/>
            <ac:grpSpMk id="11" creationId="{D00FD745-7C57-401A-8263-E9AD7A625A20}"/>
          </ac:grpSpMkLst>
        </pc:grpChg>
        <pc:grpChg chg="add del mod">
          <ac:chgData name="Devraj, Keerthi (DI SW ICS ICV OS)" userId="a61e6969-d85e-42d5-913e-c7fe6fb96353" providerId="ADAL" clId="{48AA1D62-B0CE-4774-A68D-44BF1CF9DFC8}" dt="2023-01-19T18:53:05.352" v="1646" actId="478"/>
          <ac:grpSpMkLst>
            <pc:docMk/>
            <pc:sldMk cId="3120581012" sldId="480"/>
            <ac:grpSpMk id="83" creationId="{D92F9D29-4BFE-478C-921F-B6CB69F51A0E}"/>
          </ac:grpSpMkLst>
        </pc:grpChg>
        <pc:grpChg chg="del">
          <ac:chgData name="Devraj, Keerthi (DI SW ICS ICV OS)" userId="a61e6969-d85e-42d5-913e-c7fe6fb96353" providerId="ADAL" clId="{48AA1D62-B0CE-4774-A68D-44BF1CF9DFC8}" dt="2023-01-19T15:41:45.279" v="56" actId="478"/>
          <ac:grpSpMkLst>
            <pc:docMk/>
            <pc:sldMk cId="3120581012" sldId="480"/>
            <ac:grpSpMk id="150" creationId="{824C1A53-7477-4863-9896-C0F70A0CAC60}"/>
          </ac:grpSpMkLst>
        </pc:grpChg>
        <pc:grpChg chg="del">
          <ac:chgData name="Devraj, Keerthi (DI SW ICS ICV OS)" userId="a61e6969-d85e-42d5-913e-c7fe6fb96353" providerId="ADAL" clId="{48AA1D62-B0CE-4774-A68D-44BF1CF9DFC8}" dt="2023-01-19T15:41:45.279" v="56" actId="478"/>
          <ac:grpSpMkLst>
            <pc:docMk/>
            <pc:sldMk cId="3120581012" sldId="480"/>
            <ac:grpSpMk id="151" creationId="{927C6477-A80F-4B08-B414-2E32C203B854}"/>
          </ac:grpSpMkLst>
        </pc:grpChg>
        <pc:grpChg chg="del">
          <ac:chgData name="Devraj, Keerthi (DI SW ICS ICV OS)" userId="a61e6969-d85e-42d5-913e-c7fe6fb96353" providerId="ADAL" clId="{48AA1D62-B0CE-4774-A68D-44BF1CF9DFC8}" dt="2023-01-19T15:41:45.279" v="56" actId="478"/>
          <ac:grpSpMkLst>
            <pc:docMk/>
            <pc:sldMk cId="3120581012" sldId="480"/>
            <ac:grpSpMk id="191" creationId="{51E72875-1770-401B-9F03-489074EAE795}"/>
          </ac:grpSpMkLst>
        </pc:grpChg>
        <pc:grpChg chg="del">
          <ac:chgData name="Devraj, Keerthi (DI SW ICS ICV OS)" userId="a61e6969-d85e-42d5-913e-c7fe6fb96353" providerId="ADAL" clId="{48AA1D62-B0CE-4774-A68D-44BF1CF9DFC8}" dt="2023-01-19T15:41:45.279" v="56" actId="478"/>
          <ac:grpSpMkLst>
            <pc:docMk/>
            <pc:sldMk cId="3120581012" sldId="480"/>
            <ac:grpSpMk id="192" creationId="{6FB934A7-4FA3-490C-AA14-4BA7891922AD}"/>
          </ac:grpSpMkLst>
        </pc:grpChg>
        <pc:grpChg chg="del">
          <ac:chgData name="Devraj, Keerthi (DI SW ICS ICV OS)" userId="a61e6969-d85e-42d5-913e-c7fe6fb96353" providerId="ADAL" clId="{48AA1D62-B0CE-4774-A68D-44BF1CF9DFC8}" dt="2023-01-19T15:41:45.279" v="56" actId="478"/>
          <ac:grpSpMkLst>
            <pc:docMk/>
            <pc:sldMk cId="3120581012" sldId="480"/>
            <ac:grpSpMk id="205" creationId="{0F8624D5-34EF-4EDC-AF17-B11B876BDE5A}"/>
          </ac:grpSpMkLst>
        </pc:grpChg>
        <pc:cxnChg chg="add mod">
          <ac:chgData name="Devraj, Keerthi (DI SW ICS ICV OS)" userId="a61e6969-d85e-42d5-913e-c7fe6fb96353" providerId="ADAL" clId="{48AA1D62-B0CE-4774-A68D-44BF1CF9DFC8}" dt="2023-01-19T16:14:33.995" v="441" actId="164"/>
          <ac:cxnSpMkLst>
            <pc:docMk/>
            <pc:sldMk cId="3120581012" sldId="480"/>
            <ac:cxnSpMk id="8" creationId="{0C7F052E-1EBC-4C94-BCB0-587C494A517C}"/>
          </ac:cxnSpMkLst>
        </pc:cxnChg>
        <pc:cxnChg chg="mod">
          <ac:chgData name="Devraj, Keerthi (DI SW ICS ICV OS)" userId="a61e6969-d85e-42d5-913e-c7fe6fb96353" providerId="ADAL" clId="{48AA1D62-B0CE-4774-A68D-44BF1CF9DFC8}" dt="2023-01-19T18:53:05.352" v="1646" actId="478"/>
          <ac:cxnSpMkLst>
            <pc:docMk/>
            <pc:sldMk cId="3120581012" sldId="480"/>
            <ac:cxnSpMk id="92" creationId="{C49F314F-C15F-4AAA-A5B6-C7FC62C34B85}"/>
          </ac:cxnSpMkLst>
        </pc:cxnChg>
        <pc:cxnChg chg="mod">
          <ac:chgData name="Devraj, Keerthi (DI SW ICS ICV OS)" userId="a61e6969-d85e-42d5-913e-c7fe6fb96353" providerId="ADAL" clId="{48AA1D62-B0CE-4774-A68D-44BF1CF9DFC8}" dt="2023-01-19T15:41:45.279" v="56" actId="478"/>
          <ac:cxnSpMkLst>
            <pc:docMk/>
            <pc:sldMk cId="3120581012" sldId="480"/>
            <ac:cxnSpMk id="156" creationId="{6367B718-5BE8-48B5-901C-6B86E20B7E74}"/>
          </ac:cxnSpMkLst>
        </pc:cxnChg>
        <pc:cxnChg chg="mod">
          <ac:chgData name="Devraj, Keerthi (DI SW ICS ICV OS)" userId="a61e6969-d85e-42d5-913e-c7fe6fb96353" providerId="ADAL" clId="{48AA1D62-B0CE-4774-A68D-44BF1CF9DFC8}" dt="2023-01-19T15:41:45.279" v="56" actId="478"/>
          <ac:cxnSpMkLst>
            <pc:docMk/>
            <pc:sldMk cId="3120581012" sldId="480"/>
            <ac:cxnSpMk id="159" creationId="{794AC973-7ADE-442C-83B5-94D66D5B14E9}"/>
          </ac:cxnSpMkLst>
        </pc:cxnChg>
        <pc:cxnChg chg="mod">
          <ac:chgData name="Devraj, Keerthi (DI SW ICS ICV OS)" userId="a61e6969-d85e-42d5-913e-c7fe6fb96353" providerId="ADAL" clId="{48AA1D62-B0CE-4774-A68D-44BF1CF9DFC8}" dt="2023-01-19T15:41:45.279" v="56" actId="478"/>
          <ac:cxnSpMkLst>
            <pc:docMk/>
            <pc:sldMk cId="3120581012" sldId="480"/>
            <ac:cxnSpMk id="168" creationId="{24E5F0D6-17B0-4034-8FD1-67CD9854F1D6}"/>
          </ac:cxnSpMkLst>
        </pc:cxnChg>
        <pc:cxnChg chg="mod">
          <ac:chgData name="Devraj, Keerthi (DI SW ICS ICV OS)" userId="a61e6969-d85e-42d5-913e-c7fe6fb96353" providerId="ADAL" clId="{48AA1D62-B0CE-4774-A68D-44BF1CF9DFC8}" dt="2023-01-19T15:41:45.279" v="56" actId="478"/>
          <ac:cxnSpMkLst>
            <pc:docMk/>
            <pc:sldMk cId="3120581012" sldId="480"/>
            <ac:cxnSpMk id="179" creationId="{027356EE-8068-4894-8FA2-B9B08C2ED24B}"/>
          </ac:cxnSpMkLst>
        </pc:cxnChg>
        <pc:cxnChg chg="mod">
          <ac:chgData name="Devraj, Keerthi (DI SW ICS ICV OS)" userId="a61e6969-d85e-42d5-913e-c7fe6fb96353" providerId="ADAL" clId="{48AA1D62-B0CE-4774-A68D-44BF1CF9DFC8}" dt="2023-01-19T15:41:45.279" v="56" actId="478"/>
          <ac:cxnSpMkLst>
            <pc:docMk/>
            <pc:sldMk cId="3120581012" sldId="480"/>
            <ac:cxnSpMk id="196" creationId="{30B91C5D-3B00-48C6-8886-0BC1C2181AB0}"/>
          </ac:cxnSpMkLst>
        </pc:cxnChg>
        <pc:cxnChg chg="mod">
          <ac:chgData name="Devraj, Keerthi (DI SW ICS ICV OS)" userId="a61e6969-d85e-42d5-913e-c7fe6fb96353" providerId="ADAL" clId="{48AA1D62-B0CE-4774-A68D-44BF1CF9DFC8}" dt="2023-01-19T15:41:45.279" v="56" actId="478"/>
          <ac:cxnSpMkLst>
            <pc:docMk/>
            <pc:sldMk cId="3120581012" sldId="480"/>
            <ac:cxnSpMk id="197" creationId="{A874C793-6645-4AC1-9393-415A0C944300}"/>
          </ac:cxnSpMkLst>
        </pc:cxnChg>
        <pc:cxnChg chg="mod">
          <ac:chgData name="Devraj, Keerthi (DI SW ICS ICV OS)" userId="a61e6969-d85e-42d5-913e-c7fe6fb96353" providerId="ADAL" clId="{48AA1D62-B0CE-4774-A68D-44BF1CF9DFC8}" dt="2023-01-19T15:41:45.279" v="56" actId="478"/>
          <ac:cxnSpMkLst>
            <pc:docMk/>
            <pc:sldMk cId="3120581012" sldId="480"/>
            <ac:cxnSpMk id="200" creationId="{393A4720-65F2-4819-959F-72584D754FB8}"/>
          </ac:cxnSpMkLst>
        </pc:cxnChg>
        <pc:cxnChg chg="mod">
          <ac:chgData name="Devraj, Keerthi (DI SW ICS ICV OS)" userId="a61e6969-d85e-42d5-913e-c7fe6fb96353" providerId="ADAL" clId="{48AA1D62-B0CE-4774-A68D-44BF1CF9DFC8}" dt="2023-01-19T15:41:45.279" v="56" actId="478"/>
          <ac:cxnSpMkLst>
            <pc:docMk/>
            <pc:sldMk cId="3120581012" sldId="480"/>
            <ac:cxnSpMk id="202" creationId="{E007FBA4-6092-4D3D-8354-195A50403074}"/>
          </ac:cxnSpMkLst>
        </pc:cxnChg>
        <pc:cxnChg chg="mod">
          <ac:chgData name="Devraj, Keerthi (DI SW ICS ICV OS)" userId="a61e6969-d85e-42d5-913e-c7fe6fb96353" providerId="ADAL" clId="{48AA1D62-B0CE-4774-A68D-44BF1CF9DFC8}" dt="2023-01-19T15:41:45.279" v="56" actId="478"/>
          <ac:cxnSpMkLst>
            <pc:docMk/>
            <pc:sldMk cId="3120581012" sldId="480"/>
            <ac:cxnSpMk id="209" creationId="{AD156FB8-0B1A-4058-926D-033D104275C2}"/>
          </ac:cxnSpMkLst>
        </pc:cxnChg>
        <pc:cxnChg chg="mod">
          <ac:chgData name="Devraj, Keerthi (DI SW ICS ICV OS)" userId="a61e6969-d85e-42d5-913e-c7fe6fb96353" providerId="ADAL" clId="{48AA1D62-B0CE-4774-A68D-44BF1CF9DFC8}" dt="2023-01-19T15:41:45.279" v="56" actId="478"/>
          <ac:cxnSpMkLst>
            <pc:docMk/>
            <pc:sldMk cId="3120581012" sldId="480"/>
            <ac:cxnSpMk id="210" creationId="{D28115E2-6F88-4AE3-8FE6-45C609D8A79A}"/>
          </ac:cxnSpMkLst>
        </pc:cxnChg>
        <pc:cxnChg chg="mod">
          <ac:chgData name="Devraj, Keerthi (DI SW ICS ICV OS)" userId="a61e6969-d85e-42d5-913e-c7fe6fb96353" providerId="ADAL" clId="{48AA1D62-B0CE-4774-A68D-44BF1CF9DFC8}" dt="2023-01-19T15:41:45.279" v="56" actId="478"/>
          <ac:cxnSpMkLst>
            <pc:docMk/>
            <pc:sldMk cId="3120581012" sldId="480"/>
            <ac:cxnSpMk id="213" creationId="{FA17F4C1-32FF-4081-980A-544009B4D0C5}"/>
          </ac:cxnSpMkLst>
        </pc:cxnChg>
        <pc:cxnChg chg="mod">
          <ac:chgData name="Devraj, Keerthi (DI SW ICS ICV OS)" userId="a61e6969-d85e-42d5-913e-c7fe6fb96353" providerId="ADAL" clId="{48AA1D62-B0CE-4774-A68D-44BF1CF9DFC8}" dt="2023-01-19T15:41:45.279" v="56" actId="478"/>
          <ac:cxnSpMkLst>
            <pc:docMk/>
            <pc:sldMk cId="3120581012" sldId="480"/>
            <ac:cxnSpMk id="215" creationId="{F9955E77-D49A-4DD4-BF50-A9D216485C0A}"/>
          </ac:cxnSpMkLst>
        </pc:cxnChg>
      </pc:sldChg>
      <pc:sldChg chg="del">
        <pc:chgData name="Devraj, Keerthi (DI SW ICS ICV OS)" userId="a61e6969-d85e-42d5-913e-c7fe6fb96353" providerId="ADAL" clId="{48AA1D62-B0CE-4774-A68D-44BF1CF9DFC8}" dt="2023-01-19T23:38:13.738" v="3007" actId="47"/>
        <pc:sldMkLst>
          <pc:docMk/>
          <pc:sldMk cId="2815710192" sldId="481"/>
        </pc:sldMkLst>
      </pc:sldChg>
      <pc:sldChg chg="addSp delSp modSp del mod">
        <pc:chgData name="Devraj, Keerthi (DI SW ICS ICV OS)" userId="a61e6969-d85e-42d5-913e-c7fe6fb96353" providerId="ADAL" clId="{48AA1D62-B0CE-4774-A68D-44BF1CF9DFC8}" dt="2023-01-19T23:38:13.738" v="3007" actId="47"/>
        <pc:sldMkLst>
          <pc:docMk/>
          <pc:sldMk cId="1393573462" sldId="482"/>
        </pc:sldMkLst>
        <pc:graphicFrameChg chg="add del modGraphic">
          <ac:chgData name="Devraj, Keerthi (DI SW ICS ICV OS)" userId="a61e6969-d85e-42d5-913e-c7fe6fb96353" providerId="ADAL" clId="{48AA1D62-B0CE-4774-A68D-44BF1CF9DFC8}" dt="2023-01-19T16:39:35.683" v="939" actId="27309"/>
          <ac:graphicFrameMkLst>
            <pc:docMk/>
            <pc:sldMk cId="1393573462" sldId="482"/>
            <ac:graphicFrameMk id="8" creationId="{E5E1C576-A4AA-489E-8D8B-7C79B403C3B1}"/>
          </ac:graphicFrameMkLst>
        </pc:graphicFrameChg>
      </pc:sldChg>
      <pc:sldChg chg="del">
        <pc:chgData name="Devraj, Keerthi (DI SW ICS ICV OS)" userId="a61e6969-d85e-42d5-913e-c7fe6fb96353" providerId="ADAL" clId="{48AA1D62-B0CE-4774-A68D-44BF1CF9DFC8}" dt="2023-01-19T23:38:13.738" v="3007" actId="47"/>
        <pc:sldMkLst>
          <pc:docMk/>
          <pc:sldMk cId="2667315888" sldId="483"/>
        </pc:sldMkLst>
      </pc:sldChg>
      <pc:sldChg chg="del">
        <pc:chgData name="Devraj, Keerthi (DI SW ICS ICV OS)" userId="a61e6969-d85e-42d5-913e-c7fe6fb96353" providerId="ADAL" clId="{48AA1D62-B0CE-4774-A68D-44BF1CF9DFC8}" dt="2023-01-19T23:38:13.738" v="3007" actId="47"/>
        <pc:sldMkLst>
          <pc:docMk/>
          <pc:sldMk cId="1998028940" sldId="484"/>
        </pc:sldMkLst>
      </pc:sldChg>
      <pc:sldChg chg="addSp delSp modSp add mod">
        <pc:chgData name="Devraj, Keerthi (DI SW ICS ICV OS)" userId="a61e6969-d85e-42d5-913e-c7fe6fb96353" providerId="ADAL" clId="{48AA1D62-B0CE-4774-A68D-44BF1CF9DFC8}" dt="2023-01-19T23:41:29.936" v="3020" actId="20577"/>
        <pc:sldMkLst>
          <pc:docMk/>
          <pc:sldMk cId="4259852740" sldId="485"/>
        </pc:sldMkLst>
        <pc:spChg chg="mod">
          <ac:chgData name="Devraj, Keerthi (DI SW ICS ICV OS)" userId="a61e6969-d85e-42d5-913e-c7fe6fb96353" providerId="ADAL" clId="{48AA1D62-B0CE-4774-A68D-44BF1CF9DFC8}" dt="2023-01-19T16:14:58.654" v="449" actId="6549"/>
          <ac:spMkLst>
            <pc:docMk/>
            <pc:sldMk cId="4259852740" sldId="485"/>
            <ac:spMk id="2" creationId="{C55C16BD-EA5C-4958-A62D-34A6BDF7811B}"/>
          </ac:spMkLst>
        </pc:spChg>
        <pc:spChg chg="add mod">
          <ac:chgData name="Devraj, Keerthi (DI SW ICS ICV OS)" userId="a61e6969-d85e-42d5-913e-c7fe6fb96353" providerId="ADAL" clId="{48AA1D62-B0CE-4774-A68D-44BF1CF9DFC8}" dt="2023-01-19T16:11:00.921" v="303" actId="404"/>
          <ac:spMkLst>
            <pc:docMk/>
            <pc:sldMk cId="4259852740" sldId="485"/>
            <ac:spMk id="4" creationId="{3AACBC8A-ED7D-40DF-B27C-5112F1228660}"/>
          </ac:spMkLst>
        </pc:spChg>
        <pc:spChg chg="add mod">
          <ac:chgData name="Devraj, Keerthi (DI SW ICS ICV OS)" userId="a61e6969-d85e-42d5-913e-c7fe6fb96353" providerId="ADAL" clId="{48AA1D62-B0CE-4774-A68D-44BF1CF9DFC8}" dt="2023-01-19T16:15:53.292" v="456" actId="1076"/>
          <ac:spMkLst>
            <pc:docMk/>
            <pc:sldMk cId="4259852740" sldId="485"/>
            <ac:spMk id="8" creationId="{AFEAC8A7-8B72-4428-99F4-74C5EE6D11A2}"/>
          </ac:spMkLst>
        </pc:spChg>
        <pc:spChg chg="add mod ord">
          <ac:chgData name="Devraj, Keerthi (DI SW ICS ICV OS)" userId="a61e6969-d85e-42d5-913e-c7fe6fb96353" providerId="ADAL" clId="{48AA1D62-B0CE-4774-A68D-44BF1CF9DFC8}" dt="2023-01-19T17:21:06.851" v="972" actId="164"/>
          <ac:spMkLst>
            <pc:docMk/>
            <pc:sldMk cId="4259852740" sldId="485"/>
            <ac:spMk id="9" creationId="{7A0FBAE3-18F2-4351-93DF-9A8B958AB33F}"/>
          </ac:spMkLst>
        </pc:spChg>
        <pc:spChg chg="add mod">
          <ac:chgData name="Devraj, Keerthi (DI SW ICS ICV OS)" userId="a61e6969-d85e-42d5-913e-c7fe6fb96353" providerId="ADAL" clId="{48AA1D62-B0CE-4774-A68D-44BF1CF9DFC8}" dt="2023-01-19T16:11:00.921" v="303" actId="404"/>
          <ac:spMkLst>
            <pc:docMk/>
            <pc:sldMk cId="4259852740" sldId="485"/>
            <ac:spMk id="14" creationId="{4F0A9A72-A1B2-4718-92BE-56FF427F238A}"/>
          </ac:spMkLst>
        </pc:spChg>
        <pc:spChg chg="add mod">
          <ac:chgData name="Devraj, Keerthi (DI SW ICS ICV OS)" userId="a61e6969-d85e-42d5-913e-c7fe6fb96353" providerId="ADAL" clId="{48AA1D62-B0CE-4774-A68D-44BF1CF9DFC8}" dt="2023-01-19T16:11:00.921" v="303" actId="404"/>
          <ac:spMkLst>
            <pc:docMk/>
            <pc:sldMk cId="4259852740" sldId="485"/>
            <ac:spMk id="15" creationId="{AB9BB272-EE9F-4076-9077-1C302C86043E}"/>
          </ac:spMkLst>
        </pc:spChg>
        <pc:spChg chg="add mod">
          <ac:chgData name="Devraj, Keerthi (DI SW ICS ICV OS)" userId="a61e6969-d85e-42d5-913e-c7fe6fb96353" providerId="ADAL" clId="{48AA1D62-B0CE-4774-A68D-44BF1CF9DFC8}" dt="2023-01-19T16:11:00.921" v="303" actId="404"/>
          <ac:spMkLst>
            <pc:docMk/>
            <pc:sldMk cId="4259852740" sldId="485"/>
            <ac:spMk id="16" creationId="{C709F751-C586-4400-9BAF-9512E50FF6CC}"/>
          </ac:spMkLst>
        </pc:spChg>
        <pc:spChg chg="add mod">
          <ac:chgData name="Devraj, Keerthi (DI SW ICS ICV OS)" userId="a61e6969-d85e-42d5-913e-c7fe6fb96353" providerId="ADAL" clId="{48AA1D62-B0CE-4774-A68D-44BF1CF9DFC8}" dt="2023-01-19T16:11:00.921" v="303" actId="404"/>
          <ac:spMkLst>
            <pc:docMk/>
            <pc:sldMk cId="4259852740" sldId="485"/>
            <ac:spMk id="17" creationId="{32B2F81D-A874-4357-BED0-9629A905B823}"/>
          </ac:spMkLst>
        </pc:spChg>
        <pc:spChg chg="add mod">
          <ac:chgData name="Devraj, Keerthi (DI SW ICS ICV OS)" userId="a61e6969-d85e-42d5-913e-c7fe6fb96353" providerId="ADAL" clId="{48AA1D62-B0CE-4774-A68D-44BF1CF9DFC8}" dt="2023-01-19T16:11:00.921" v="303" actId="404"/>
          <ac:spMkLst>
            <pc:docMk/>
            <pc:sldMk cId="4259852740" sldId="485"/>
            <ac:spMk id="18" creationId="{C833ED95-BC56-48FF-951C-5BC516370D8C}"/>
          </ac:spMkLst>
        </pc:spChg>
        <pc:spChg chg="add del mod">
          <ac:chgData name="Devraj, Keerthi (DI SW ICS ICV OS)" userId="a61e6969-d85e-42d5-913e-c7fe6fb96353" providerId="ADAL" clId="{48AA1D62-B0CE-4774-A68D-44BF1CF9DFC8}" dt="2023-01-19T16:10:15.689" v="279" actId="478"/>
          <ac:spMkLst>
            <pc:docMk/>
            <pc:sldMk cId="4259852740" sldId="485"/>
            <ac:spMk id="19" creationId="{B981B057-5726-430A-A3F8-D9D2EDF303A3}"/>
          </ac:spMkLst>
        </pc:spChg>
        <pc:spChg chg="add mod">
          <ac:chgData name="Devraj, Keerthi (DI SW ICS ICV OS)" userId="a61e6969-d85e-42d5-913e-c7fe6fb96353" providerId="ADAL" clId="{48AA1D62-B0CE-4774-A68D-44BF1CF9DFC8}" dt="2023-01-19T16:11:00.921" v="303" actId="404"/>
          <ac:spMkLst>
            <pc:docMk/>
            <pc:sldMk cId="4259852740" sldId="485"/>
            <ac:spMk id="20" creationId="{B7758988-FE7B-4D9E-88E7-8B7E77E7F792}"/>
          </ac:spMkLst>
        </pc:spChg>
        <pc:spChg chg="add mod">
          <ac:chgData name="Devraj, Keerthi (DI SW ICS ICV OS)" userId="a61e6969-d85e-42d5-913e-c7fe6fb96353" providerId="ADAL" clId="{48AA1D62-B0CE-4774-A68D-44BF1CF9DFC8}" dt="2023-01-19T16:11:00.921" v="303" actId="404"/>
          <ac:spMkLst>
            <pc:docMk/>
            <pc:sldMk cId="4259852740" sldId="485"/>
            <ac:spMk id="21" creationId="{4A048B73-2109-405D-A785-C2AA33D03FF2}"/>
          </ac:spMkLst>
        </pc:spChg>
        <pc:spChg chg="add mod">
          <ac:chgData name="Devraj, Keerthi (DI SW ICS ICV OS)" userId="a61e6969-d85e-42d5-913e-c7fe6fb96353" providerId="ADAL" clId="{48AA1D62-B0CE-4774-A68D-44BF1CF9DFC8}" dt="2023-01-19T16:11:00.921" v="303" actId="404"/>
          <ac:spMkLst>
            <pc:docMk/>
            <pc:sldMk cId="4259852740" sldId="485"/>
            <ac:spMk id="22" creationId="{66DA0061-7BEF-43BA-90B1-DCDDA5D379C3}"/>
          </ac:spMkLst>
        </pc:spChg>
        <pc:spChg chg="add mod">
          <ac:chgData name="Devraj, Keerthi (DI SW ICS ICV OS)" userId="a61e6969-d85e-42d5-913e-c7fe6fb96353" providerId="ADAL" clId="{48AA1D62-B0CE-4774-A68D-44BF1CF9DFC8}" dt="2023-01-19T16:11:00.921" v="303" actId="404"/>
          <ac:spMkLst>
            <pc:docMk/>
            <pc:sldMk cId="4259852740" sldId="485"/>
            <ac:spMk id="23" creationId="{5A27F3A8-091D-4612-BFD8-117AE61A9074}"/>
          </ac:spMkLst>
        </pc:spChg>
        <pc:spChg chg="add mod">
          <ac:chgData name="Devraj, Keerthi (DI SW ICS ICV OS)" userId="a61e6969-d85e-42d5-913e-c7fe6fb96353" providerId="ADAL" clId="{48AA1D62-B0CE-4774-A68D-44BF1CF9DFC8}" dt="2023-01-19T16:11:00.921" v="303" actId="404"/>
          <ac:spMkLst>
            <pc:docMk/>
            <pc:sldMk cId="4259852740" sldId="485"/>
            <ac:spMk id="24" creationId="{50ADFD33-0D9C-4E30-A26A-1F36A95E7994}"/>
          </ac:spMkLst>
        </pc:spChg>
        <pc:spChg chg="add mod">
          <ac:chgData name="Devraj, Keerthi (DI SW ICS ICV OS)" userId="a61e6969-d85e-42d5-913e-c7fe6fb96353" providerId="ADAL" clId="{48AA1D62-B0CE-4774-A68D-44BF1CF9DFC8}" dt="2023-01-19T16:11:00.921" v="303" actId="404"/>
          <ac:spMkLst>
            <pc:docMk/>
            <pc:sldMk cId="4259852740" sldId="485"/>
            <ac:spMk id="25" creationId="{189868EE-695C-42D8-BC8E-F3AC62C5E431}"/>
          </ac:spMkLst>
        </pc:spChg>
        <pc:spChg chg="add mod">
          <ac:chgData name="Devraj, Keerthi (DI SW ICS ICV OS)" userId="a61e6969-d85e-42d5-913e-c7fe6fb96353" providerId="ADAL" clId="{48AA1D62-B0CE-4774-A68D-44BF1CF9DFC8}" dt="2023-01-19T16:11:00.921" v="303" actId="404"/>
          <ac:spMkLst>
            <pc:docMk/>
            <pc:sldMk cId="4259852740" sldId="485"/>
            <ac:spMk id="26" creationId="{5C06A27C-9747-4503-A05F-5A7D714745F7}"/>
          </ac:spMkLst>
        </pc:spChg>
        <pc:spChg chg="add mod">
          <ac:chgData name="Devraj, Keerthi (DI SW ICS ICV OS)" userId="a61e6969-d85e-42d5-913e-c7fe6fb96353" providerId="ADAL" clId="{48AA1D62-B0CE-4774-A68D-44BF1CF9DFC8}" dt="2023-01-19T16:11:00.921" v="303" actId="404"/>
          <ac:spMkLst>
            <pc:docMk/>
            <pc:sldMk cId="4259852740" sldId="485"/>
            <ac:spMk id="27" creationId="{CA7E6773-AD97-4813-8088-362FA365C55A}"/>
          </ac:spMkLst>
        </pc:spChg>
        <pc:spChg chg="add del mod">
          <ac:chgData name="Devraj, Keerthi (DI SW ICS ICV OS)" userId="a61e6969-d85e-42d5-913e-c7fe6fb96353" providerId="ADAL" clId="{48AA1D62-B0CE-4774-A68D-44BF1CF9DFC8}" dt="2023-01-19T16:10:14.739" v="278" actId="478"/>
          <ac:spMkLst>
            <pc:docMk/>
            <pc:sldMk cId="4259852740" sldId="485"/>
            <ac:spMk id="28" creationId="{DDE21018-A623-4A76-86FD-82C0C4D044D4}"/>
          </ac:spMkLst>
        </pc:spChg>
        <pc:spChg chg="add mod">
          <ac:chgData name="Devraj, Keerthi (DI SW ICS ICV OS)" userId="a61e6969-d85e-42d5-913e-c7fe6fb96353" providerId="ADAL" clId="{48AA1D62-B0CE-4774-A68D-44BF1CF9DFC8}" dt="2023-01-19T16:11:00.921" v="303" actId="404"/>
          <ac:spMkLst>
            <pc:docMk/>
            <pc:sldMk cId="4259852740" sldId="485"/>
            <ac:spMk id="29" creationId="{97010857-FDC5-4BF4-9A97-B67E62302D9B}"/>
          </ac:spMkLst>
        </pc:spChg>
        <pc:spChg chg="add mod">
          <ac:chgData name="Devraj, Keerthi (DI SW ICS ICV OS)" userId="a61e6969-d85e-42d5-913e-c7fe6fb96353" providerId="ADAL" clId="{48AA1D62-B0CE-4774-A68D-44BF1CF9DFC8}" dt="2023-01-19T16:11:00.921" v="303" actId="404"/>
          <ac:spMkLst>
            <pc:docMk/>
            <pc:sldMk cId="4259852740" sldId="485"/>
            <ac:spMk id="30" creationId="{A90160A7-1FFC-4691-AD6A-8F99E974FFBE}"/>
          </ac:spMkLst>
        </pc:spChg>
        <pc:spChg chg="add mod">
          <ac:chgData name="Devraj, Keerthi (DI SW ICS ICV OS)" userId="a61e6969-d85e-42d5-913e-c7fe6fb96353" providerId="ADAL" clId="{48AA1D62-B0CE-4774-A68D-44BF1CF9DFC8}" dt="2023-01-19T16:11:00.921" v="303" actId="404"/>
          <ac:spMkLst>
            <pc:docMk/>
            <pc:sldMk cId="4259852740" sldId="485"/>
            <ac:spMk id="31" creationId="{55DFA253-84FC-4A02-BAFE-F0A7A638792B}"/>
          </ac:spMkLst>
        </pc:spChg>
        <pc:spChg chg="add mod">
          <ac:chgData name="Devraj, Keerthi (DI SW ICS ICV OS)" userId="a61e6969-d85e-42d5-913e-c7fe6fb96353" providerId="ADAL" clId="{48AA1D62-B0CE-4774-A68D-44BF1CF9DFC8}" dt="2023-01-19T16:11:00.921" v="303" actId="404"/>
          <ac:spMkLst>
            <pc:docMk/>
            <pc:sldMk cId="4259852740" sldId="485"/>
            <ac:spMk id="33" creationId="{D81BBC0E-971D-41E4-9CFF-0D044234F6E6}"/>
          </ac:spMkLst>
        </pc:spChg>
        <pc:spChg chg="mod">
          <ac:chgData name="Devraj, Keerthi (DI SW ICS ICV OS)" userId="a61e6969-d85e-42d5-913e-c7fe6fb96353" providerId="ADAL" clId="{48AA1D62-B0CE-4774-A68D-44BF1CF9DFC8}" dt="2023-01-19T16:14:41.370" v="444" actId="404"/>
          <ac:spMkLst>
            <pc:docMk/>
            <pc:sldMk cId="4259852740" sldId="485"/>
            <ac:spMk id="36" creationId="{C56D7988-5D0C-4B28-8FC2-4EA99502770B}"/>
          </ac:spMkLst>
        </pc:spChg>
        <pc:spChg chg="mod">
          <ac:chgData name="Devraj, Keerthi (DI SW ICS ICV OS)" userId="a61e6969-d85e-42d5-913e-c7fe6fb96353" providerId="ADAL" clId="{48AA1D62-B0CE-4774-A68D-44BF1CF9DFC8}" dt="2023-01-19T16:14:41.370" v="444" actId="404"/>
          <ac:spMkLst>
            <pc:docMk/>
            <pc:sldMk cId="4259852740" sldId="485"/>
            <ac:spMk id="37" creationId="{67111EB0-EAEB-4B6A-9E5E-2C75F3353D12}"/>
          </ac:spMkLst>
        </pc:spChg>
        <pc:spChg chg="mod">
          <ac:chgData name="Devraj, Keerthi (DI SW ICS ICV OS)" userId="a61e6969-d85e-42d5-913e-c7fe6fb96353" providerId="ADAL" clId="{48AA1D62-B0CE-4774-A68D-44BF1CF9DFC8}" dt="2023-01-19T16:14:41.370" v="444" actId="404"/>
          <ac:spMkLst>
            <pc:docMk/>
            <pc:sldMk cId="4259852740" sldId="485"/>
            <ac:spMk id="38" creationId="{94ACE1C2-EEE0-4E22-A7C6-1666E7A02ABE}"/>
          </ac:spMkLst>
        </pc:spChg>
        <pc:spChg chg="mod">
          <ac:chgData name="Devraj, Keerthi (DI SW ICS ICV OS)" userId="a61e6969-d85e-42d5-913e-c7fe6fb96353" providerId="ADAL" clId="{48AA1D62-B0CE-4774-A68D-44BF1CF9DFC8}" dt="2023-01-19T16:14:41.370" v="444" actId="404"/>
          <ac:spMkLst>
            <pc:docMk/>
            <pc:sldMk cId="4259852740" sldId="485"/>
            <ac:spMk id="39" creationId="{A0862F7C-D16C-40B7-B52F-4C7EB26D051F}"/>
          </ac:spMkLst>
        </pc:spChg>
        <pc:spChg chg="mod">
          <ac:chgData name="Devraj, Keerthi (DI SW ICS ICV OS)" userId="a61e6969-d85e-42d5-913e-c7fe6fb96353" providerId="ADAL" clId="{48AA1D62-B0CE-4774-A68D-44BF1CF9DFC8}" dt="2023-01-19T16:14:41.370" v="444" actId="404"/>
          <ac:spMkLst>
            <pc:docMk/>
            <pc:sldMk cId="4259852740" sldId="485"/>
            <ac:spMk id="40" creationId="{D30840F2-F82E-46BA-A226-0D342954FE11}"/>
          </ac:spMkLst>
        </pc:spChg>
        <pc:spChg chg="add del mod">
          <ac:chgData name="Devraj, Keerthi (DI SW ICS ICV OS)" userId="a61e6969-d85e-42d5-913e-c7fe6fb96353" providerId="ADAL" clId="{48AA1D62-B0CE-4774-A68D-44BF1CF9DFC8}" dt="2023-01-19T17:35:53.608" v="1082" actId="478"/>
          <ac:spMkLst>
            <pc:docMk/>
            <pc:sldMk cId="4259852740" sldId="485"/>
            <ac:spMk id="41" creationId="{C85D506C-75EC-45B2-B1F4-F140A897B6EE}"/>
          </ac:spMkLst>
        </pc:spChg>
        <pc:spChg chg="mod">
          <ac:chgData name="Devraj, Keerthi (DI SW ICS ICV OS)" userId="a61e6969-d85e-42d5-913e-c7fe6fb96353" providerId="ADAL" clId="{48AA1D62-B0CE-4774-A68D-44BF1CF9DFC8}" dt="2023-01-19T16:17:37.925" v="465" actId="1076"/>
          <ac:spMkLst>
            <pc:docMk/>
            <pc:sldMk cId="4259852740" sldId="485"/>
            <ac:spMk id="42" creationId="{3CC4E5B0-C060-49F8-8C54-F3A572F80BD7}"/>
          </ac:spMkLst>
        </pc:spChg>
        <pc:spChg chg="mod">
          <ac:chgData name="Devraj, Keerthi (DI SW ICS ICV OS)" userId="a61e6969-d85e-42d5-913e-c7fe6fb96353" providerId="ADAL" clId="{48AA1D62-B0CE-4774-A68D-44BF1CF9DFC8}" dt="2023-01-19T16:14:41.370" v="444" actId="404"/>
          <ac:spMkLst>
            <pc:docMk/>
            <pc:sldMk cId="4259852740" sldId="485"/>
            <ac:spMk id="43" creationId="{9243B785-EDB2-482C-8996-A070DE2A4A9A}"/>
          </ac:spMkLst>
        </pc:spChg>
        <pc:spChg chg="mod">
          <ac:chgData name="Devraj, Keerthi (DI SW ICS ICV OS)" userId="a61e6969-d85e-42d5-913e-c7fe6fb96353" providerId="ADAL" clId="{48AA1D62-B0CE-4774-A68D-44BF1CF9DFC8}" dt="2023-01-19T16:14:41.370" v="444" actId="404"/>
          <ac:spMkLst>
            <pc:docMk/>
            <pc:sldMk cId="4259852740" sldId="485"/>
            <ac:spMk id="44" creationId="{369A0301-A798-4AAB-A92E-6FBDD0822FA6}"/>
          </ac:spMkLst>
        </pc:spChg>
        <pc:spChg chg="mod">
          <ac:chgData name="Devraj, Keerthi (DI SW ICS ICV OS)" userId="a61e6969-d85e-42d5-913e-c7fe6fb96353" providerId="ADAL" clId="{48AA1D62-B0CE-4774-A68D-44BF1CF9DFC8}" dt="2023-01-19T16:14:41.370" v="444" actId="404"/>
          <ac:spMkLst>
            <pc:docMk/>
            <pc:sldMk cId="4259852740" sldId="485"/>
            <ac:spMk id="45" creationId="{E94E1B51-4EBD-4957-AEED-9B4CC7090A30}"/>
          </ac:spMkLst>
        </pc:spChg>
        <pc:spChg chg="mod">
          <ac:chgData name="Devraj, Keerthi (DI SW ICS ICV OS)" userId="a61e6969-d85e-42d5-913e-c7fe6fb96353" providerId="ADAL" clId="{48AA1D62-B0CE-4774-A68D-44BF1CF9DFC8}" dt="2023-01-19T16:14:49.720" v="447"/>
          <ac:spMkLst>
            <pc:docMk/>
            <pc:sldMk cId="4259852740" sldId="485"/>
            <ac:spMk id="48" creationId="{8F525B59-82EF-4448-9798-D8A0B8C4F9EE}"/>
          </ac:spMkLst>
        </pc:spChg>
        <pc:spChg chg="mod">
          <ac:chgData name="Devraj, Keerthi (DI SW ICS ICV OS)" userId="a61e6969-d85e-42d5-913e-c7fe6fb96353" providerId="ADAL" clId="{48AA1D62-B0CE-4774-A68D-44BF1CF9DFC8}" dt="2023-01-19T16:14:49.720" v="447"/>
          <ac:spMkLst>
            <pc:docMk/>
            <pc:sldMk cId="4259852740" sldId="485"/>
            <ac:spMk id="49" creationId="{36FB8956-6EBD-43CB-83F4-E9ACF74D5286}"/>
          </ac:spMkLst>
        </pc:spChg>
        <pc:spChg chg="mod">
          <ac:chgData name="Devraj, Keerthi (DI SW ICS ICV OS)" userId="a61e6969-d85e-42d5-913e-c7fe6fb96353" providerId="ADAL" clId="{48AA1D62-B0CE-4774-A68D-44BF1CF9DFC8}" dt="2023-01-19T16:14:49.720" v="447"/>
          <ac:spMkLst>
            <pc:docMk/>
            <pc:sldMk cId="4259852740" sldId="485"/>
            <ac:spMk id="50" creationId="{33C7B86B-0BC7-4E21-A938-8D1886F18757}"/>
          </ac:spMkLst>
        </pc:spChg>
        <pc:spChg chg="mod">
          <ac:chgData name="Devraj, Keerthi (DI SW ICS ICV OS)" userId="a61e6969-d85e-42d5-913e-c7fe6fb96353" providerId="ADAL" clId="{48AA1D62-B0CE-4774-A68D-44BF1CF9DFC8}" dt="2023-01-19T16:14:49.720" v="447"/>
          <ac:spMkLst>
            <pc:docMk/>
            <pc:sldMk cId="4259852740" sldId="485"/>
            <ac:spMk id="51" creationId="{7C424749-8246-4FE0-9706-D05B7FAFD1F5}"/>
          </ac:spMkLst>
        </pc:spChg>
        <pc:spChg chg="mod">
          <ac:chgData name="Devraj, Keerthi (DI SW ICS ICV OS)" userId="a61e6969-d85e-42d5-913e-c7fe6fb96353" providerId="ADAL" clId="{48AA1D62-B0CE-4774-A68D-44BF1CF9DFC8}" dt="2023-01-19T16:14:49.720" v="447"/>
          <ac:spMkLst>
            <pc:docMk/>
            <pc:sldMk cId="4259852740" sldId="485"/>
            <ac:spMk id="52" creationId="{D8BD2907-97EC-4232-AE41-BCDE2F0E931C}"/>
          </ac:spMkLst>
        </pc:spChg>
        <pc:spChg chg="add del mod">
          <ac:chgData name="Devraj, Keerthi (DI SW ICS ICV OS)" userId="a61e6969-d85e-42d5-913e-c7fe6fb96353" providerId="ADAL" clId="{48AA1D62-B0CE-4774-A68D-44BF1CF9DFC8}" dt="2023-01-19T17:35:50.827" v="1081" actId="478"/>
          <ac:spMkLst>
            <pc:docMk/>
            <pc:sldMk cId="4259852740" sldId="485"/>
            <ac:spMk id="53" creationId="{8FE42FEF-5862-4D14-A1D9-DEC80517C4EE}"/>
          </ac:spMkLst>
        </pc:spChg>
        <pc:spChg chg="mod">
          <ac:chgData name="Devraj, Keerthi (DI SW ICS ICV OS)" userId="a61e6969-d85e-42d5-913e-c7fe6fb96353" providerId="ADAL" clId="{48AA1D62-B0CE-4774-A68D-44BF1CF9DFC8}" dt="2023-01-19T16:17:43.453" v="466" actId="1076"/>
          <ac:spMkLst>
            <pc:docMk/>
            <pc:sldMk cId="4259852740" sldId="485"/>
            <ac:spMk id="54" creationId="{04330366-7465-41D3-8285-779B54534091}"/>
          </ac:spMkLst>
        </pc:spChg>
        <pc:spChg chg="mod">
          <ac:chgData name="Devraj, Keerthi (DI SW ICS ICV OS)" userId="a61e6969-d85e-42d5-913e-c7fe6fb96353" providerId="ADAL" clId="{48AA1D62-B0CE-4774-A68D-44BF1CF9DFC8}" dt="2023-01-19T16:14:49.720" v="447"/>
          <ac:spMkLst>
            <pc:docMk/>
            <pc:sldMk cId="4259852740" sldId="485"/>
            <ac:spMk id="55" creationId="{B67A2046-9CB3-40EE-B741-2B2826F89009}"/>
          </ac:spMkLst>
        </pc:spChg>
        <pc:spChg chg="mod">
          <ac:chgData name="Devraj, Keerthi (DI SW ICS ICV OS)" userId="a61e6969-d85e-42d5-913e-c7fe6fb96353" providerId="ADAL" clId="{48AA1D62-B0CE-4774-A68D-44BF1CF9DFC8}" dt="2023-01-19T16:14:49.720" v="447"/>
          <ac:spMkLst>
            <pc:docMk/>
            <pc:sldMk cId="4259852740" sldId="485"/>
            <ac:spMk id="56" creationId="{86357372-9E3A-4A83-AB67-044225F5B74B}"/>
          </ac:spMkLst>
        </pc:spChg>
        <pc:spChg chg="mod">
          <ac:chgData name="Devraj, Keerthi (DI SW ICS ICV OS)" userId="a61e6969-d85e-42d5-913e-c7fe6fb96353" providerId="ADAL" clId="{48AA1D62-B0CE-4774-A68D-44BF1CF9DFC8}" dt="2023-01-19T16:14:49.720" v="447"/>
          <ac:spMkLst>
            <pc:docMk/>
            <pc:sldMk cId="4259852740" sldId="485"/>
            <ac:spMk id="57" creationId="{68D79427-377D-48F2-A322-1B8EE9740DD7}"/>
          </ac:spMkLst>
        </pc:spChg>
        <pc:spChg chg="del">
          <ac:chgData name="Devraj, Keerthi (DI SW ICS ICV OS)" userId="a61e6969-d85e-42d5-913e-c7fe6fb96353" providerId="ADAL" clId="{48AA1D62-B0CE-4774-A68D-44BF1CF9DFC8}" dt="2023-01-19T16:10:00.249" v="274" actId="478"/>
          <ac:spMkLst>
            <pc:docMk/>
            <pc:sldMk cId="4259852740" sldId="485"/>
            <ac:spMk id="60" creationId="{11DCF9CD-2D70-4823-89D9-AA38F23DA634}"/>
          </ac:spMkLst>
        </pc:spChg>
        <pc:spChg chg="del">
          <ac:chgData name="Devraj, Keerthi (DI SW ICS ICV OS)" userId="a61e6969-d85e-42d5-913e-c7fe6fb96353" providerId="ADAL" clId="{48AA1D62-B0CE-4774-A68D-44BF1CF9DFC8}" dt="2023-01-19T16:10:00.249" v="274" actId="478"/>
          <ac:spMkLst>
            <pc:docMk/>
            <pc:sldMk cId="4259852740" sldId="485"/>
            <ac:spMk id="61" creationId="{61599EC2-C89E-4ECE-820B-4B1E5A7DCD41}"/>
          </ac:spMkLst>
        </pc:spChg>
        <pc:spChg chg="del">
          <ac:chgData name="Devraj, Keerthi (DI SW ICS ICV OS)" userId="a61e6969-d85e-42d5-913e-c7fe6fb96353" providerId="ADAL" clId="{48AA1D62-B0CE-4774-A68D-44BF1CF9DFC8}" dt="2023-01-19T16:10:00.249" v="274" actId="478"/>
          <ac:spMkLst>
            <pc:docMk/>
            <pc:sldMk cId="4259852740" sldId="485"/>
            <ac:spMk id="62" creationId="{63CC6D52-CD12-4794-8068-BC42F747C367}"/>
          </ac:spMkLst>
        </pc:spChg>
        <pc:spChg chg="del">
          <ac:chgData name="Devraj, Keerthi (DI SW ICS ICV OS)" userId="a61e6969-d85e-42d5-913e-c7fe6fb96353" providerId="ADAL" clId="{48AA1D62-B0CE-4774-A68D-44BF1CF9DFC8}" dt="2023-01-19T16:10:00.249" v="274" actId="478"/>
          <ac:spMkLst>
            <pc:docMk/>
            <pc:sldMk cId="4259852740" sldId="485"/>
            <ac:spMk id="63" creationId="{9CCB3A0D-53F7-49E9-B719-B6E150EAF54B}"/>
          </ac:spMkLst>
        </pc:spChg>
        <pc:spChg chg="del">
          <ac:chgData name="Devraj, Keerthi (DI SW ICS ICV OS)" userId="a61e6969-d85e-42d5-913e-c7fe6fb96353" providerId="ADAL" clId="{48AA1D62-B0CE-4774-A68D-44BF1CF9DFC8}" dt="2023-01-19T16:10:00.249" v="274" actId="478"/>
          <ac:spMkLst>
            <pc:docMk/>
            <pc:sldMk cId="4259852740" sldId="485"/>
            <ac:spMk id="64" creationId="{AFFFD158-119A-44EA-98C8-3AE8F18AA076}"/>
          </ac:spMkLst>
        </pc:spChg>
        <pc:spChg chg="del mod">
          <ac:chgData name="Devraj, Keerthi (DI SW ICS ICV OS)" userId="a61e6969-d85e-42d5-913e-c7fe6fb96353" providerId="ADAL" clId="{48AA1D62-B0CE-4774-A68D-44BF1CF9DFC8}" dt="2023-01-19T16:08:24.158" v="228" actId="478"/>
          <ac:spMkLst>
            <pc:docMk/>
            <pc:sldMk cId="4259852740" sldId="485"/>
            <ac:spMk id="65" creationId="{8CEFC751-857A-4066-A4B4-7E520B224D1E}"/>
          </ac:spMkLst>
        </pc:spChg>
        <pc:spChg chg="del">
          <ac:chgData name="Devraj, Keerthi (DI SW ICS ICV OS)" userId="a61e6969-d85e-42d5-913e-c7fe6fb96353" providerId="ADAL" clId="{48AA1D62-B0CE-4774-A68D-44BF1CF9DFC8}" dt="2023-01-19T16:10:00.249" v="274" actId="478"/>
          <ac:spMkLst>
            <pc:docMk/>
            <pc:sldMk cId="4259852740" sldId="485"/>
            <ac:spMk id="66" creationId="{3ECDC161-9174-4904-B93B-C612169946A4}"/>
          </ac:spMkLst>
        </pc:spChg>
        <pc:spChg chg="del">
          <ac:chgData name="Devraj, Keerthi (DI SW ICS ICV OS)" userId="a61e6969-d85e-42d5-913e-c7fe6fb96353" providerId="ADAL" clId="{48AA1D62-B0CE-4774-A68D-44BF1CF9DFC8}" dt="2023-01-19T16:10:00.249" v="274" actId="478"/>
          <ac:spMkLst>
            <pc:docMk/>
            <pc:sldMk cId="4259852740" sldId="485"/>
            <ac:spMk id="67" creationId="{CEA36EDD-72FE-45CF-B714-97A3DBB6E09F}"/>
          </ac:spMkLst>
        </pc:spChg>
        <pc:spChg chg="del">
          <ac:chgData name="Devraj, Keerthi (DI SW ICS ICV OS)" userId="a61e6969-d85e-42d5-913e-c7fe6fb96353" providerId="ADAL" clId="{48AA1D62-B0CE-4774-A68D-44BF1CF9DFC8}" dt="2023-01-19T16:10:00.249" v="274" actId="478"/>
          <ac:spMkLst>
            <pc:docMk/>
            <pc:sldMk cId="4259852740" sldId="485"/>
            <ac:spMk id="68" creationId="{B56E0B45-C8B6-40D1-956C-E89E8DC49F4C}"/>
          </ac:spMkLst>
        </pc:spChg>
        <pc:spChg chg="add del mod">
          <ac:chgData name="Devraj, Keerthi (DI SW ICS ICV OS)" userId="a61e6969-d85e-42d5-913e-c7fe6fb96353" providerId="ADAL" clId="{48AA1D62-B0CE-4774-A68D-44BF1CF9DFC8}" dt="2023-01-19T17:46:36.592" v="1293" actId="478"/>
          <ac:spMkLst>
            <pc:docMk/>
            <pc:sldMk cId="4259852740" sldId="485"/>
            <ac:spMk id="69" creationId="{50F849F9-C3BE-4E65-A5E7-FCA1D8B76B92}"/>
          </ac:spMkLst>
        </pc:spChg>
        <pc:spChg chg="del">
          <ac:chgData name="Devraj, Keerthi (DI SW ICS ICV OS)" userId="a61e6969-d85e-42d5-913e-c7fe6fb96353" providerId="ADAL" clId="{48AA1D62-B0CE-4774-A68D-44BF1CF9DFC8}" dt="2023-01-19T16:10:00.249" v="274" actId="478"/>
          <ac:spMkLst>
            <pc:docMk/>
            <pc:sldMk cId="4259852740" sldId="485"/>
            <ac:spMk id="70" creationId="{8A3AC93A-0C0F-4CDA-A4F2-251FDED53C0E}"/>
          </ac:spMkLst>
        </pc:spChg>
        <pc:spChg chg="add mod ord">
          <ac:chgData name="Devraj, Keerthi (DI SW ICS ICV OS)" userId="a61e6969-d85e-42d5-913e-c7fe6fb96353" providerId="ADAL" clId="{48AA1D62-B0CE-4774-A68D-44BF1CF9DFC8}" dt="2023-01-19T17:21:06.851" v="972" actId="164"/>
          <ac:spMkLst>
            <pc:docMk/>
            <pc:sldMk cId="4259852740" sldId="485"/>
            <ac:spMk id="71" creationId="{480780C0-E95B-4268-AFCA-A814A4679F33}"/>
          </ac:spMkLst>
        </pc:spChg>
        <pc:spChg chg="add mod">
          <ac:chgData name="Devraj, Keerthi (DI SW ICS ICV OS)" userId="a61e6969-d85e-42d5-913e-c7fe6fb96353" providerId="ADAL" clId="{48AA1D62-B0CE-4774-A68D-44BF1CF9DFC8}" dt="2023-01-19T17:21:20.758" v="986" actId="14100"/>
          <ac:spMkLst>
            <pc:docMk/>
            <pc:sldMk cId="4259852740" sldId="485"/>
            <ac:spMk id="72" creationId="{0E24413D-422C-4FA6-827A-F216D859EFC1}"/>
          </ac:spMkLst>
        </pc:spChg>
        <pc:spChg chg="add mod">
          <ac:chgData name="Devraj, Keerthi (DI SW ICS ICV OS)" userId="a61e6969-d85e-42d5-913e-c7fe6fb96353" providerId="ADAL" clId="{48AA1D62-B0CE-4774-A68D-44BF1CF9DFC8}" dt="2023-01-19T17:21:20.758" v="986" actId="14100"/>
          <ac:spMkLst>
            <pc:docMk/>
            <pc:sldMk cId="4259852740" sldId="485"/>
            <ac:spMk id="73" creationId="{3370A9D9-7691-4461-8FF6-5E4077CF6E52}"/>
          </ac:spMkLst>
        </pc:spChg>
        <pc:spChg chg="add mod">
          <ac:chgData name="Devraj, Keerthi (DI SW ICS ICV OS)" userId="a61e6969-d85e-42d5-913e-c7fe6fb96353" providerId="ADAL" clId="{48AA1D62-B0CE-4774-A68D-44BF1CF9DFC8}" dt="2023-01-19T23:41:29.936" v="3020" actId="20577"/>
          <ac:spMkLst>
            <pc:docMk/>
            <pc:sldMk cId="4259852740" sldId="485"/>
            <ac:spMk id="74" creationId="{5776B57C-EF74-4CD1-A994-ABB4DBE820C4}"/>
          </ac:spMkLst>
        </pc:spChg>
        <pc:spChg chg="add del mod">
          <ac:chgData name="Devraj, Keerthi (DI SW ICS ICV OS)" userId="a61e6969-d85e-42d5-913e-c7fe6fb96353" providerId="ADAL" clId="{48AA1D62-B0CE-4774-A68D-44BF1CF9DFC8}" dt="2023-01-19T17:51:24.229" v="1396" actId="478"/>
          <ac:spMkLst>
            <pc:docMk/>
            <pc:sldMk cId="4259852740" sldId="485"/>
            <ac:spMk id="75" creationId="{F6C18346-9385-46FA-B135-3BF6D44ADB2A}"/>
          </ac:spMkLst>
        </pc:spChg>
        <pc:spChg chg="add del mod">
          <ac:chgData name="Devraj, Keerthi (DI SW ICS ICV OS)" userId="a61e6969-d85e-42d5-913e-c7fe6fb96353" providerId="ADAL" clId="{48AA1D62-B0CE-4774-A68D-44BF1CF9DFC8}" dt="2023-01-19T19:10:42.717" v="2023" actId="478"/>
          <ac:spMkLst>
            <pc:docMk/>
            <pc:sldMk cId="4259852740" sldId="485"/>
            <ac:spMk id="76" creationId="{09AC55B2-1077-4A1B-8B6C-D5AE200F7EC0}"/>
          </ac:spMkLst>
        </pc:spChg>
        <pc:spChg chg="add del mod">
          <ac:chgData name="Devraj, Keerthi (DI SW ICS ICV OS)" userId="a61e6969-d85e-42d5-913e-c7fe6fb96353" providerId="ADAL" clId="{48AA1D62-B0CE-4774-A68D-44BF1CF9DFC8}" dt="2023-01-19T19:10:43.501" v="2024" actId="478"/>
          <ac:spMkLst>
            <pc:docMk/>
            <pc:sldMk cId="4259852740" sldId="485"/>
            <ac:spMk id="77" creationId="{3D583454-83DF-43E8-BAD8-ED0C31AFF655}"/>
          </ac:spMkLst>
        </pc:spChg>
        <pc:spChg chg="add del mod">
          <ac:chgData name="Devraj, Keerthi (DI SW ICS ICV OS)" userId="a61e6969-d85e-42d5-913e-c7fe6fb96353" providerId="ADAL" clId="{48AA1D62-B0CE-4774-A68D-44BF1CF9DFC8}" dt="2023-01-19T19:10:42.162" v="2022" actId="478"/>
          <ac:spMkLst>
            <pc:docMk/>
            <pc:sldMk cId="4259852740" sldId="485"/>
            <ac:spMk id="78" creationId="{288232C2-E4BB-4302-9CAE-0211D64E362B}"/>
          </ac:spMkLst>
        </pc:spChg>
        <pc:spChg chg="add del mod">
          <ac:chgData name="Devraj, Keerthi (DI SW ICS ICV OS)" userId="a61e6969-d85e-42d5-913e-c7fe6fb96353" providerId="ADAL" clId="{48AA1D62-B0CE-4774-A68D-44BF1CF9DFC8}" dt="2023-01-19T19:10:45.021" v="2026" actId="478"/>
          <ac:spMkLst>
            <pc:docMk/>
            <pc:sldMk cId="4259852740" sldId="485"/>
            <ac:spMk id="79" creationId="{E70AAF05-82D2-4AEF-ABBD-5DD2697FA896}"/>
          </ac:spMkLst>
        </pc:spChg>
        <pc:spChg chg="add mod">
          <ac:chgData name="Devraj, Keerthi (DI SW ICS ICV OS)" userId="a61e6969-d85e-42d5-913e-c7fe6fb96353" providerId="ADAL" clId="{48AA1D62-B0CE-4774-A68D-44BF1CF9DFC8}" dt="2023-01-19T19:10:28.618" v="2018"/>
          <ac:spMkLst>
            <pc:docMk/>
            <pc:sldMk cId="4259852740" sldId="485"/>
            <ac:spMk id="80" creationId="{3221D5E6-78E0-49F5-BE21-2B8BA7237924}"/>
          </ac:spMkLst>
        </pc:spChg>
        <pc:spChg chg="add del mod">
          <ac:chgData name="Devraj, Keerthi (DI SW ICS ICV OS)" userId="a61e6969-d85e-42d5-913e-c7fe6fb96353" providerId="ADAL" clId="{48AA1D62-B0CE-4774-A68D-44BF1CF9DFC8}" dt="2023-01-19T19:10:32.881" v="2020" actId="478"/>
          <ac:spMkLst>
            <pc:docMk/>
            <pc:sldMk cId="4259852740" sldId="485"/>
            <ac:spMk id="81" creationId="{299FCB1D-9CE4-42CE-BCED-D575BFD73C39}"/>
          </ac:spMkLst>
        </pc:spChg>
        <pc:spChg chg="add mod">
          <ac:chgData name="Devraj, Keerthi (DI SW ICS ICV OS)" userId="a61e6969-d85e-42d5-913e-c7fe6fb96353" providerId="ADAL" clId="{48AA1D62-B0CE-4774-A68D-44BF1CF9DFC8}" dt="2023-01-19T19:10:39.417" v="2021"/>
          <ac:spMkLst>
            <pc:docMk/>
            <pc:sldMk cId="4259852740" sldId="485"/>
            <ac:spMk id="82" creationId="{802C239A-753C-4FF8-8642-3A9EC484B4D1}"/>
          </ac:spMkLst>
        </pc:spChg>
        <pc:spChg chg="add del mod">
          <ac:chgData name="Devraj, Keerthi (DI SW ICS ICV OS)" userId="a61e6969-d85e-42d5-913e-c7fe6fb96353" providerId="ADAL" clId="{48AA1D62-B0CE-4774-A68D-44BF1CF9DFC8}" dt="2023-01-19T21:55:12.672" v="2150" actId="478"/>
          <ac:spMkLst>
            <pc:docMk/>
            <pc:sldMk cId="4259852740" sldId="485"/>
            <ac:spMk id="83" creationId="{0E723867-38DF-4A80-877B-E1494ED178B8}"/>
          </ac:spMkLst>
        </pc:spChg>
        <pc:spChg chg="add del mod">
          <ac:chgData name="Devraj, Keerthi (DI SW ICS ICV OS)" userId="a61e6969-d85e-42d5-913e-c7fe6fb96353" providerId="ADAL" clId="{48AA1D62-B0CE-4774-A68D-44BF1CF9DFC8}" dt="2023-01-19T21:55:12.672" v="2150" actId="478"/>
          <ac:spMkLst>
            <pc:docMk/>
            <pc:sldMk cId="4259852740" sldId="485"/>
            <ac:spMk id="84" creationId="{2E9191C2-C027-4E7A-9E61-AD5A353050A4}"/>
          </ac:spMkLst>
        </pc:spChg>
        <pc:spChg chg="add del mod">
          <ac:chgData name="Devraj, Keerthi (DI SW ICS ICV OS)" userId="a61e6969-d85e-42d5-913e-c7fe6fb96353" providerId="ADAL" clId="{48AA1D62-B0CE-4774-A68D-44BF1CF9DFC8}" dt="2023-01-19T21:55:12.672" v="2150" actId="478"/>
          <ac:spMkLst>
            <pc:docMk/>
            <pc:sldMk cId="4259852740" sldId="485"/>
            <ac:spMk id="85" creationId="{21DF5689-0D6B-44B8-A017-CB3E859AD56D}"/>
          </ac:spMkLst>
        </pc:spChg>
        <pc:spChg chg="add del mod">
          <ac:chgData name="Devraj, Keerthi (DI SW ICS ICV OS)" userId="a61e6969-d85e-42d5-913e-c7fe6fb96353" providerId="ADAL" clId="{48AA1D62-B0CE-4774-A68D-44BF1CF9DFC8}" dt="2023-01-19T21:55:12.672" v="2150" actId="478"/>
          <ac:spMkLst>
            <pc:docMk/>
            <pc:sldMk cId="4259852740" sldId="485"/>
            <ac:spMk id="86" creationId="{2E688790-9083-4E00-BFF0-E4432E885BF7}"/>
          </ac:spMkLst>
        </pc:spChg>
        <pc:grpChg chg="add del mod">
          <ac:chgData name="Devraj, Keerthi (DI SW ICS ICV OS)" userId="a61e6969-d85e-42d5-913e-c7fe6fb96353" providerId="ADAL" clId="{48AA1D62-B0CE-4774-A68D-44BF1CF9DFC8}" dt="2023-01-19T16:14:11.952" v="411" actId="478"/>
          <ac:grpSpMkLst>
            <pc:docMk/>
            <pc:sldMk cId="4259852740" sldId="485"/>
            <ac:grpSpMk id="5" creationId="{570BCF67-0ED0-4709-9137-937391488D3C}"/>
          </ac:grpSpMkLst>
        </pc:grpChg>
        <pc:grpChg chg="add del mod">
          <ac:chgData name="Devraj, Keerthi (DI SW ICS ICV OS)" userId="a61e6969-d85e-42d5-913e-c7fe6fb96353" providerId="ADAL" clId="{48AA1D62-B0CE-4774-A68D-44BF1CF9DFC8}" dt="2023-01-19T17:35:33.003" v="1077" actId="478"/>
          <ac:grpSpMkLst>
            <pc:docMk/>
            <pc:sldMk cId="4259852740" sldId="485"/>
            <ac:grpSpMk id="11" creationId="{F79D39A0-41EC-4128-ACE8-6630C8F8AB04}"/>
          </ac:grpSpMkLst>
        </pc:grpChg>
        <pc:grpChg chg="add mod">
          <ac:chgData name="Devraj, Keerthi (DI SW ICS ICV OS)" userId="a61e6969-d85e-42d5-913e-c7fe6fb96353" providerId="ADAL" clId="{48AA1D62-B0CE-4774-A68D-44BF1CF9DFC8}" dt="2023-01-19T17:21:06.851" v="972" actId="164"/>
          <ac:grpSpMkLst>
            <pc:docMk/>
            <pc:sldMk cId="4259852740" sldId="485"/>
            <ac:grpSpMk id="35" creationId="{5AFD52FC-5225-4666-A9EE-1D3F4D7AA7EB}"/>
          </ac:grpSpMkLst>
        </pc:grpChg>
        <pc:grpChg chg="add mod">
          <ac:chgData name="Devraj, Keerthi (DI SW ICS ICV OS)" userId="a61e6969-d85e-42d5-913e-c7fe6fb96353" providerId="ADAL" clId="{48AA1D62-B0CE-4774-A68D-44BF1CF9DFC8}" dt="2023-01-19T17:21:06.851" v="972" actId="164"/>
          <ac:grpSpMkLst>
            <pc:docMk/>
            <pc:sldMk cId="4259852740" sldId="485"/>
            <ac:grpSpMk id="47" creationId="{7C6B9BAD-9409-463F-BE87-AD79D5FBF4BB}"/>
          </ac:grpSpMkLst>
        </pc:grpChg>
        <pc:picChg chg="add mod">
          <ac:chgData name="Devraj, Keerthi (DI SW ICS ICV OS)" userId="a61e6969-d85e-42d5-913e-c7fe6fb96353" providerId="ADAL" clId="{48AA1D62-B0CE-4774-A68D-44BF1CF9DFC8}" dt="2023-01-19T17:21:06.851" v="972" actId="164"/>
          <ac:picMkLst>
            <pc:docMk/>
            <pc:sldMk cId="4259852740" sldId="485"/>
            <ac:picMk id="7" creationId="{D818CA2A-F5F4-48A5-AA5E-295B4799A585}"/>
          </ac:picMkLst>
        </pc:picChg>
        <pc:cxnChg chg="mod">
          <ac:chgData name="Devraj, Keerthi (DI SW ICS ICV OS)" userId="a61e6969-d85e-42d5-913e-c7fe6fb96353" providerId="ADAL" clId="{48AA1D62-B0CE-4774-A68D-44BF1CF9DFC8}" dt="2023-01-19T17:35:33.003" v="1077" actId="478"/>
          <ac:cxnSpMkLst>
            <pc:docMk/>
            <pc:sldMk cId="4259852740" sldId="485"/>
            <ac:cxnSpMk id="46" creationId="{84B0B780-7DBB-40B5-B6FE-8E0AB3EA46A3}"/>
          </ac:cxnSpMkLst>
        </pc:cxnChg>
        <pc:cxnChg chg="mod">
          <ac:chgData name="Devraj, Keerthi (DI SW ICS ICV OS)" userId="a61e6969-d85e-42d5-913e-c7fe6fb96353" providerId="ADAL" clId="{48AA1D62-B0CE-4774-A68D-44BF1CF9DFC8}" dt="2023-01-19T17:35:33.003" v="1077" actId="478"/>
          <ac:cxnSpMkLst>
            <pc:docMk/>
            <pc:sldMk cId="4259852740" sldId="485"/>
            <ac:cxnSpMk id="58" creationId="{8D9810BE-19D8-4198-BCB2-6BC03B71E53C}"/>
          </ac:cxnSpMkLst>
        </pc:cxnChg>
      </pc:sldChg>
      <pc:sldChg chg="addSp delSp modSp add mod">
        <pc:chgData name="Devraj, Keerthi (DI SW ICS ICV OS)" userId="a61e6969-d85e-42d5-913e-c7fe6fb96353" providerId="ADAL" clId="{48AA1D62-B0CE-4774-A68D-44BF1CF9DFC8}" dt="2023-01-19T23:08:19.792" v="2307" actId="1035"/>
        <pc:sldMkLst>
          <pc:docMk/>
          <pc:sldMk cId="1950140948" sldId="486"/>
        </pc:sldMkLst>
        <pc:spChg chg="mod">
          <ac:chgData name="Devraj, Keerthi (DI SW ICS ICV OS)" userId="a61e6969-d85e-42d5-913e-c7fe6fb96353" providerId="ADAL" clId="{48AA1D62-B0CE-4774-A68D-44BF1CF9DFC8}" dt="2023-01-19T17:36:16.670" v="1127" actId="20577"/>
          <ac:spMkLst>
            <pc:docMk/>
            <pc:sldMk cId="1950140948" sldId="486"/>
            <ac:spMk id="2" creationId="{C55C16BD-EA5C-4958-A62D-34A6BDF7811B}"/>
          </ac:spMkLst>
        </pc:spChg>
        <pc:spChg chg="del mod">
          <ac:chgData name="Devraj, Keerthi (DI SW ICS ICV OS)" userId="a61e6969-d85e-42d5-913e-c7fe6fb96353" providerId="ADAL" clId="{48AA1D62-B0CE-4774-A68D-44BF1CF9DFC8}" dt="2023-01-19T17:33:13.321" v="1074" actId="478"/>
          <ac:spMkLst>
            <pc:docMk/>
            <pc:sldMk cId="1950140948" sldId="486"/>
            <ac:spMk id="53" creationId="{8FE42FEF-5862-4D14-A1D9-DEC80517C4EE}"/>
          </ac:spMkLst>
        </pc:spChg>
        <pc:spChg chg="add mod">
          <ac:chgData name="Devraj, Keerthi (DI SW ICS ICV OS)" userId="a61e6969-d85e-42d5-913e-c7fe6fb96353" providerId="ADAL" clId="{48AA1D62-B0CE-4774-A68D-44BF1CF9DFC8}" dt="2023-01-19T17:36:32.841" v="1136" actId="1037"/>
          <ac:spMkLst>
            <pc:docMk/>
            <pc:sldMk cId="1950140948" sldId="486"/>
            <ac:spMk id="59" creationId="{ACF7B7BD-985C-4F06-B8FC-93E8F853A873}"/>
          </ac:spMkLst>
        </pc:spChg>
        <pc:spChg chg="add del mod">
          <ac:chgData name="Devraj, Keerthi (DI SW ICS ICV OS)" userId="a61e6969-d85e-42d5-913e-c7fe6fb96353" providerId="ADAL" clId="{48AA1D62-B0CE-4774-A68D-44BF1CF9DFC8}" dt="2023-01-19T23:08:19.792" v="2307" actId="1035"/>
          <ac:spMkLst>
            <pc:docMk/>
            <pc:sldMk cId="1950140948" sldId="486"/>
            <ac:spMk id="60" creationId="{5C279302-CCFB-4490-81AE-62A751F0BD44}"/>
          </ac:spMkLst>
        </pc:spChg>
        <pc:spChg chg="add del mod">
          <ac:chgData name="Devraj, Keerthi (DI SW ICS ICV OS)" userId="a61e6969-d85e-42d5-913e-c7fe6fb96353" providerId="ADAL" clId="{48AA1D62-B0CE-4774-A68D-44BF1CF9DFC8}" dt="2023-01-19T19:11:36.405" v="2029" actId="478"/>
          <ac:spMkLst>
            <pc:docMk/>
            <pc:sldMk cId="1950140948" sldId="486"/>
            <ac:spMk id="61" creationId="{BEEDBBB1-7CF7-4E68-BBA7-1857EB8625C2}"/>
          </ac:spMkLst>
        </pc:spChg>
        <pc:spChg chg="add del mod">
          <ac:chgData name="Devraj, Keerthi (DI SW ICS ICV OS)" userId="a61e6969-d85e-42d5-913e-c7fe6fb96353" providerId="ADAL" clId="{48AA1D62-B0CE-4774-A68D-44BF1CF9DFC8}" dt="2023-01-19T19:11:38.275" v="2030" actId="478"/>
          <ac:spMkLst>
            <pc:docMk/>
            <pc:sldMk cId="1950140948" sldId="486"/>
            <ac:spMk id="62" creationId="{CEAC2752-64D1-4E28-BAA2-1A742929D96C}"/>
          </ac:spMkLst>
        </pc:spChg>
        <pc:spChg chg="add del mod">
          <ac:chgData name="Devraj, Keerthi (DI SW ICS ICV OS)" userId="a61e6969-d85e-42d5-913e-c7fe6fb96353" providerId="ADAL" clId="{48AA1D62-B0CE-4774-A68D-44BF1CF9DFC8}" dt="2023-01-19T19:11:35.700" v="2028" actId="478"/>
          <ac:spMkLst>
            <pc:docMk/>
            <pc:sldMk cId="1950140948" sldId="486"/>
            <ac:spMk id="63" creationId="{D3127692-0FE2-4D93-90F0-B3676BB88C6A}"/>
          </ac:spMkLst>
        </pc:spChg>
        <pc:spChg chg="add del mod">
          <ac:chgData name="Devraj, Keerthi (DI SW ICS ICV OS)" userId="a61e6969-d85e-42d5-913e-c7fe6fb96353" providerId="ADAL" clId="{48AA1D62-B0CE-4774-A68D-44BF1CF9DFC8}" dt="2023-01-19T19:11:38.993" v="2031" actId="478"/>
          <ac:spMkLst>
            <pc:docMk/>
            <pc:sldMk cId="1950140948" sldId="486"/>
            <ac:spMk id="64" creationId="{21A2CC18-E076-40F8-B2F7-01991C32233D}"/>
          </ac:spMkLst>
        </pc:spChg>
        <pc:spChg chg="mod">
          <ac:chgData name="Devraj, Keerthi (DI SW ICS ICV OS)" userId="a61e6969-d85e-42d5-913e-c7fe6fb96353" providerId="ADAL" clId="{48AA1D62-B0CE-4774-A68D-44BF1CF9DFC8}" dt="2023-01-19T17:42:15.677" v="1280" actId="21"/>
          <ac:spMkLst>
            <pc:docMk/>
            <pc:sldMk cId="1950140948" sldId="486"/>
            <ac:spMk id="69" creationId="{50F849F9-C3BE-4E65-A5E7-FCA1D8B76B92}"/>
          </ac:spMkLst>
        </pc:spChg>
        <pc:cxnChg chg="add del">
          <ac:chgData name="Devraj, Keerthi (DI SW ICS ICV OS)" userId="a61e6969-d85e-42d5-913e-c7fe6fb96353" providerId="ADAL" clId="{48AA1D62-B0CE-4774-A68D-44BF1CF9DFC8}" dt="2023-01-19T17:38:29.628" v="1148" actId="478"/>
          <ac:cxnSpMkLst>
            <pc:docMk/>
            <pc:sldMk cId="1950140948" sldId="486"/>
            <ac:cxnSpMk id="5" creationId="{AADAE83B-FBC8-4E1B-9924-1B0429BE48B0}"/>
          </ac:cxnSpMkLst>
        </pc:cxnChg>
      </pc:sldChg>
      <pc:sldChg chg="addSp delSp modSp add mod">
        <pc:chgData name="Devraj, Keerthi (DI SW ICS ICV OS)" userId="a61e6969-d85e-42d5-913e-c7fe6fb96353" providerId="ADAL" clId="{48AA1D62-B0CE-4774-A68D-44BF1CF9DFC8}" dt="2023-01-19T23:08:33.126" v="2311" actId="113"/>
        <pc:sldMkLst>
          <pc:docMk/>
          <pc:sldMk cId="1080004580" sldId="487"/>
        </pc:sldMkLst>
        <pc:spChg chg="mod">
          <ac:chgData name="Devraj, Keerthi (DI SW ICS ICV OS)" userId="a61e6969-d85e-42d5-913e-c7fe6fb96353" providerId="ADAL" clId="{48AA1D62-B0CE-4774-A68D-44BF1CF9DFC8}" dt="2023-01-19T17:37:08.284" v="1142" actId="20577"/>
          <ac:spMkLst>
            <pc:docMk/>
            <pc:sldMk cId="1080004580" sldId="487"/>
            <ac:spMk id="2" creationId="{C55C16BD-EA5C-4958-A62D-34A6BDF7811B}"/>
          </ac:spMkLst>
        </pc:spChg>
        <pc:spChg chg="add mod">
          <ac:chgData name="Devraj, Keerthi (DI SW ICS ICV OS)" userId="a61e6969-d85e-42d5-913e-c7fe6fb96353" providerId="ADAL" clId="{48AA1D62-B0CE-4774-A68D-44BF1CF9DFC8}" dt="2023-01-19T17:39:11.243" v="1153" actId="692"/>
          <ac:spMkLst>
            <pc:docMk/>
            <pc:sldMk cId="1080004580" sldId="487"/>
            <ac:spMk id="6" creationId="{93365387-D000-4B68-89F5-20E45140F32E}"/>
          </ac:spMkLst>
        </pc:spChg>
        <pc:spChg chg="add mod">
          <ac:chgData name="Devraj, Keerthi (DI SW ICS ICV OS)" userId="a61e6969-d85e-42d5-913e-c7fe6fb96353" providerId="ADAL" clId="{48AA1D62-B0CE-4774-A68D-44BF1CF9DFC8}" dt="2023-01-19T17:39:30.578" v="1156" actId="692"/>
          <ac:spMkLst>
            <pc:docMk/>
            <pc:sldMk cId="1080004580" sldId="487"/>
            <ac:spMk id="10" creationId="{9EE8C24F-60E3-4149-9A86-C2D5A10A3DB5}"/>
          </ac:spMkLst>
        </pc:spChg>
        <pc:spChg chg="del">
          <ac:chgData name="Devraj, Keerthi (DI SW ICS ICV OS)" userId="a61e6969-d85e-42d5-913e-c7fe6fb96353" providerId="ADAL" clId="{48AA1D62-B0CE-4774-A68D-44BF1CF9DFC8}" dt="2023-01-19T17:37:12.347" v="1143" actId="478"/>
          <ac:spMkLst>
            <pc:docMk/>
            <pc:sldMk cId="1080004580" sldId="487"/>
            <ac:spMk id="41" creationId="{C85D506C-75EC-45B2-B1F4-F140A897B6EE}"/>
          </ac:spMkLst>
        </pc:spChg>
        <pc:spChg chg="add mod">
          <ac:chgData name="Devraj, Keerthi (DI SW ICS ICV OS)" userId="a61e6969-d85e-42d5-913e-c7fe6fb96353" providerId="ADAL" clId="{48AA1D62-B0CE-4774-A68D-44BF1CF9DFC8}" dt="2023-01-19T17:39:59.170" v="1175" actId="1038"/>
          <ac:spMkLst>
            <pc:docMk/>
            <pc:sldMk cId="1080004580" sldId="487"/>
            <ac:spMk id="53" creationId="{6E644D04-9BE1-4C88-88D2-E1A60EF32729}"/>
          </ac:spMkLst>
        </pc:spChg>
        <pc:spChg chg="del">
          <ac:chgData name="Devraj, Keerthi (DI SW ICS ICV OS)" userId="a61e6969-d85e-42d5-913e-c7fe6fb96353" providerId="ADAL" clId="{48AA1D62-B0CE-4774-A68D-44BF1CF9DFC8}" dt="2023-01-19T17:37:14.539" v="1144" actId="478"/>
          <ac:spMkLst>
            <pc:docMk/>
            <pc:sldMk cId="1080004580" sldId="487"/>
            <ac:spMk id="59" creationId="{ACF7B7BD-985C-4F06-B8FC-93E8F853A873}"/>
          </ac:spMkLst>
        </pc:spChg>
        <pc:spChg chg="add mod">
          <ac:chgData name="Devraj, Keerthi (DI SW ICS ICV OS)" userId="a61e6969-d85e-42d5-913e-c7fe6fb96353" providerId="ADAL" clId="{48AA1D62-B0CE-4774-A68D-44BF1CF9DFC8}" dt="2023-01-19T17:39:59.170" v="1175" actId="1038"/>
          <ac:spMkLst>
            <pc:docMk/>
            <pc:sldMk cId="1080004580" sldId="487"/>
            <ac:spMk id="60" creationId="{BA4F7BF7-F363-478A-BF01-B1F47CCB9CDB}"/>
          </ac:spMkLst>
        </pc:spChg>
        <pc:spChg chg="add mod">
          <ac:chgData name="Devraj, Keerthi (DI SW ICS ICV OS)" userId="a61e6969-d85e-42d5-913e-c7fe6fb96353" providerId="ADAL" clId="{48AA1D62-B0CE-4774-A68D-44BF1CF9DFC8}" dt="2023-01-19T23:08:33.126" v="2311" actId="113"/>
          <ac:spMkLst>
            <pc:docMk/>
            <pc:sldMk cId="1080004580" sldId="487"/>
            <ac:spMk id="61" creationId="{B4C48D27-5730-4383-B8E3-AA5A8B38C927}"/>
          </ac:spMkLst>
        </pc:spChg>
        <pc:spChg chg="del mod">
          <ac:chgData name="Devraj, Keerthi (DI SW ICS ICV OS)" userId="a61e6969-d85e-42d5-913e-c7fe6fb96353" providerId="ADAL" clId="{48AA1D62-B0CE-4774-A68D-44BF1CF9DFC8}" dt="2023-01-19T17:42:34.159" v="1286" actId="478"/>
          <ac:spMkLst>
            <pc:docMk/>
            <pc:sldMk cId="1080004580" sldId="487"/>
            <ac:spMk id="69" creationId="{50F849F9-C3BE-4E65-A5E7-FCA1D8B76B92}"/>
          </ac:spMkLst>
        </pc:spChg>
        <pc:cxnChg chg="add del mod">
          <ac:chgData name="Devraj, Keerthi (DI SW ICS ICV OS)" userId="a61e6969-d85e-42d5-913e-c7fe6fb96353" providerId="ADAL" clId="{48AA1D62-B0CE-4774-A68D-44BF1CF9DFC8}" dt="2023-01-19T17:37:30.511" v="1146" actId="11529"/>
          <ac:cxnSpMkLst>
            <pc:docMk/>
            <pc:sldMk cId="1080004580" sldId="487"/>
            <ac:cxnSpMk id="5" creationId="{6D674881-D3AF-41D2-A625-0547913126A6}"/>
          </ac:cxnSpMkLst>
        </pc:cxnChg>
      </pc:sldChg>
      <pc:sldChg chg="addSp delSp modSp add mod">
        <pc:chgData name="Devraj, Keerthi (DI SW ICS ICV OS)" userId="a61e6969-d85e-42d5-913e-c7fe6fb96353" providerId="ADAL" clId="{48AA1D62-B0CE-4774-A68D-44BF1CF9DFC8}" dt="2023-01-20T00:04:50.122" v="3253" actId="20577"/>
        <pc:sldMkLst>
          <pc:docMk/>
          <pc:sldMk cId="1203675564" sldId="488"/>
        </pc:sldMkLst>
        <pc:spChg chg="mod">
          <ac:chgData name="Devraj, Keerthi (DI SW ICS ICV OS)" userId="a61e6969-d85e-42d5-913e-c7fe6fb96353" providerId="ADAL" clId="{48AA1D62-B0CE-4774-A68D-44BF1CF9DFC8}" dt="2023-01-19T23:17:52.082" v="2434" actId="20577"/>
          <ac:spMkLst>
            <pc:docMk/>
            <pc:sldMk cId="1203675564" sldId="488"/>
            <ac:spMk id="2" creationId="{C55C16BD-EA5C-4958-A62D-34A6BDF7811B}"/>
          </ac:spMkLst>
        </pc:spChg>
        <pc:spChg chg="del">
          <ac:chgData name="Devraj, Keerthi (DI SW ICS ICV OS)" userId="a61e6969-d85e-42d5-913e-c7fe6fb96353" providerId="ADAL" clId="{48AA1D62-B0CE-4774-A68D-44BF1CF9DFC8}" dt="2023-01-19T17:48:24.588" v="1300" actId="478"/>
          <ac:spMkLst>
            <pc:docMk/>
            <pc:sldMk cId="1203675564" sldId="488"/>
            <ac:spMk id="6" creationId="{93365387-D000-4B68-89F5-20E45140F32E}"/>
          </ac:spMkLst>
        </pc:spChg>
        <pc:spChg chg="del">
          <ac:chgData name="Devraj, Keerthi (DI SW ICS ICV OS)" userId="a61e6969-d85e-42d5-913e-c7fe6fb96353" providerId="ADAL" clId="{48AA1D62-B0CE-4774-A68D-44BF1CF9DFC8}" dt="2023-01-19T17:48:24.588" v="1300" actId="478"/>
          <ac:spMkLst>
            <pc:docMk/>
            <pc:sldMk cId="1203675564" sldId="488"/>
            <ac:spMk id="10" creationId="{9EE8C24F-60E3-4149-9A86-C2D5A10A3DB5}"/>
          </ac:spMkLst>
        </pc:spChg>
        <pc:spChg chg="del">
          <ac:chgData name="Devraj, Keerthi (DI SW ICS ICV OS)" userId="a61e6969-d85e-42d5-913e-c7fe6fb96353" providerId="ADAL" clId="{48AA1D62-B0CE-4774-A68D-44BF1CF9DFC8}" dt="2023-01-19T17:48:24.588" v="1300" actId="478"/>
          <ac:spMkLst>
            <pc:docMk/>
            <pc:sldMk cId="1203675564" sldId="488"/>
            <ac:spMk id="53" creationId="{6E644D04-9BE1-4C88-88D2-E1A60EF32729}"/>
          </ac:spMkLst>
        </pc:spChg>
        <pc:spChg chg="mod">
          <ac:chgData name="Devraj, Keerthi (DI SW ICS ICV OS)" userId="a61e6969-d85e-42d5-913e-c7fe6fb96353" providerId="ADAL" clId="{48AA1D62-B0CE-4774-A68D-44BF1CF9DFC8}" dt="2023-01-19T17:48:17.943" v="1298"/>
          <ac:spMkLst>
            <pc:docMk/>
            <pc:sldMk cId="1203675564" sldId="488"/>
            <ac:spMk id="59" creationId="{95C7B9F8-A79B-42A4-9DE9-8F09761EA724}"/>
          </ac:spMkLst>
        </pc:spChg>
        <pc:spChg chg="del">
          <ac:chgData name="Devraj, Keerthi (DI SW ICS ICV OS)" userId="a61e6969-d85e-42d5-913e-c7fe6fb96353" providerId="ADAL" clId="{48AA1D62-B0CE-4774-A68D-44BF1CF9DFC8}" dt="2023-01-19T17:48:24.588" v="1300" actId="478"/>
          <ac:spMkLst>
            <pc:docMk/>
            <pc:sldMk cId="1203675564" sldId="488"/>
            <ac:spMk id="60" creationId="{BA4F7BF7-F363-478A-BF01-B1F47CCB9CDB}"/>
          </ac:spMkLst>
        </pc:spChg>
        <pc:spChg chg="mod">
          <ac:chgData name="Devraj, Keerthi (DI SW ICS ICV OS)" userId="a61e6969-d85e-42d5-913e-c7fe6fb96353" providerId="ADAL" clId="{48AA1D62-B0CE-4774-A68D-44BF1CF9DFC8}" dt="2023-01-20T00:04:50.122" v="3253" actId="20577"/>
          <ac:spMkLst>
            <pc:docMk/>
            <pc:sldMk cId="1203675564" sldId="488"/>
            <ac:spMk id="61" creationId="{B4C48D27-5730-4383-B8E3-AA5A8B38C927}"/>
          </ac:spMkLst>
        </pc:spChg>
        <pc:spChg chg="mod">
          <ac:chgData name="Devraj, Keerthi (DI SW ICS ICV OS)" userId="a61e6969-d85e-42d5-913e-c7fe6fb96353" providerId="ADAL" clId="{48AA1D62-B0CE-4774-A68D-44BF1CF9DFC8}" dt="2023-01-19T17:48:17.943" v="1298"/>
          <ac:spMkLst>
            <pc:docMk/>
            <pc:sldMk cId="1203675564" sldId="488"/>
            <ac:spMk id="62" creationId="{97E0B4D1-0E40-49F2-A653-66304FCC170D}"/>
          </ac:spMkLst>
        </pc:spChg>
        <pc:spChg chg="mod">
          <ac:chgData name="Devraj, Keerthi (DI SW ICS ICV OS)" userId="a61e6969-d85e-42d5-913e-c7fe6fb96353" providerId="ADAL" clId="{48AA1D62-B0CE-4774-A68D-44BF1CF9DFC8}" dt="2023-01-19T17:48:17.943" v="1298"/>
          <ac:spMkLst>
            <pc:docMk/>
            <pc:sldMk cId="1203675564" sldId="488"/>
            <ac:spMk id="66" creationId="{5E3DB70B-C32A-4C63-A1EF-EA97181FA491}"/>
          </ac:spMkLst>
        </pc:spChg>
        <pc:spChg chg="mod">
          <ac:chgData name="Devraj, Keerthi (DI SW ICS ICV OS)" userId="a61e6969-d85e-42d5-913e-c7fe6fb96353" providerId="ADAL" clId="{48AA1D62-B0CE-4774-A68D-44BF1CF9DFC8}" dt="2023-01-19T17:48:17.943" v="1298"/>
          <ac:spMkLst>
            <pc:docMk/>
            <pc:sldMk cId="1203675564" sldId="488"/>
            <ac:spMk id="67" creationId="{1585BD41-430A-49F2-831C-A1E76AE2E3FA}"/>
          </ac:spMkLst>
        </pc:spChg>
        <pc:spChg chg="mod">
          <ac:chgData name="Devraj, Keerthi (DI SW ICS ICV OS)" userId="a61e6969-d85e-42d5-913e-c7fe6fb96353" providerId="ADAL" clId="{48AA1D62-B0CE-4774-A68D-44BF1CF9DFC8}" dt="2023-01-19T17:48:17.943" v="1298"/>
          <ac:spMkLst>
            <pc:docMk/>
            <pc:sldMk cId="1203675564" sldId="488"/>
            <ac:spMk id="68" creationId="{34B0AA43-1D5A-4282-8FD5-700E92CEA9B2}"/>
          </ac:spMkLst>
        </pc:spChg>
        <pc:spChg chg="mod">
          <ac:chgData name="Devraj, Keerthi (DI SW ICS ICV OS)" userId="a61e6969-d85e-42d5-913e-c7fe6fb96353" providerId="ADAL" clId="{48AA1D62-B0CE-4774-A68D-44BF1CF9DFC8}" dt="2023-01-19T17:48:17.943" v="1298"/>
          <ac:spMkLst>
            <pc:docMk/>
            <pc:sldMk cId="1203675564" sldId="488"/>
            <ac:spMk id="69" creationId="{718991D7-73B5-4343-A59D-8DAB864DFBD2}"/>
          </ac:spMkLst>
        </pc:spChg>
        <pc:spChg chg="mod">
          <ac:chgData name="Devraj, Keerthi (DI SW ICS ICV OS)" userId="a61e6969-d85e-42d5-913e-c7fe6fb96353" providerId="ADAL" clId="{48AA1D62-B0CE-4774-A68D-44BF1CF9DFC8}" dt="2023-01-19T17:48:17.943" v="1298"/>
          <ac:spMkLst>
            <pc:docMk/>
            <pc:sldMk cId="1203675564" sldId="488"/>
            <ac:spMk id="70" creationId="{996D589D-6C77-4A78-98EE-7CA22580843C}"/>
          </ac:spMkLst>
        </pc:spChg>
        <pc:spChg chg="mod">
          <ac:chgData name="Devraj, Keerthi (DI SW ICS ICV OS)" userId="a61e6969-d85e-42d5-913e-c7fe6fb96353" providerId="ADAL" clId="{48AA1D62-B0CE-4774-A68D-44BF1CF9DFC8}" dt="2023-01-19T17:48:17.943" v="1298"/>
          <ac:spMkLst>
            <pc:docMk/>
            <pc:sldMk cId="1203675564" sldId="488"/>
            <ac:spMk id="74" creationId="{A660834C-6CC5-4780-BFB8-665546C3694C}"/>
          </ac:spMkLst>
        </pc:spChg>
        <pc:spChg chg="mod">
          <ac:chgData name="Devraj, Keerthi (DI SW ICS ICV OS)" userId="a61e6969-d85e-42d5-913e-c7fe6fb96353" providerId="ADAL" clId="{48AA1D62-B0CE-4774-A68D-44BF1CF9DFC8}" dt="2023-01-19T17:48:17.943" v="1298"/>
          <ac:spMkLst>
            <pc:docMk/>
            <pc:sldMk cId="1203675564" sldId="488"/>
            <ac:spMk id="75" creationId="{49604089-C8DE-4B0D-9B31-139BBAE73E9E}"/>
          </ac:spMkLst>
        </pc:spChg>
        <pc:spChg chg="mod">
          <ac:chgData name="Devraj, Keerthi (DI SW ICS ICV OS)" userId="a61e6969-d85e-42d5-913e-c7fe6fb96353" providerId="ADAL" clId="{48AA1D62-B0CE-4774-A68D-44BF1CF9DFC8}" dt="2023-01-19T17:48:17.943" v="1298"/>
          <ac:spMkLst>
            <pc:docMk/>
            <pc:sldMk cId="1203675564" sldId="488"/>
            <ac:spMk id="76" creationId="{1B0B42D8-10D9-476D-9081-16DB97B6D97F}"/>
          </ac:spMkLst>
        </pc:spChg>
        <pc:spChg chg="mod">
          <ac:chgData name="Devraj, Keerthi (DI SW ICS ICV OS)" userId="a61e6969-d85e-42d5-913e-c7fe6fb96353" providerId="ADAL" clId="{48AA1D62-B0CE-4774-A68D-44BF1CF9DFC8}" dt="2023-01-19T17:48:17.943" v="1298"/>
          <ac:spMkLst>
            <pc:docMk/>
            <pc:sldMk cId="1203675564" sldId="488"/>
            <ac:spMk id="77" creationId="{E501BFB0-4D6A-44FB-ABF5-68716D048E1E}"/>
          </ac:spMkLst>
        </pc:spChg>
        <pc:spChg chg="mod">
          <ac:chgData name="Devraj, Keerthi (DI SW ICS ICV OS)" userId="a61e6969-d85e-42d5-913e-c7fe6fb96353" providerId="ADAL" clId="{48AA1D62-B0CE-4774-A68D-44BF1CF9DFC8}" dt="2023-01-19T17:48:17.943" v="1298"/>
          <ac:spMkLst>
            <pc:docMk/>
            <pc:sldMk cId="1203675564" sldId="488"/>
            <ac:spMk id="78" creationId="{8A5247C3-2106-47CF-BBEE-29583CE7525E}"/>
          </ac:spMkLst>
        </pc:spChg>
        <pc:spChg chg="mod">
          <ac:chgData name="Devraj, Keerthi (DI SW ICS ICV OS)" userId="a61e6969-d85e-42d5-913e-c7fe6fb96353" providerId="ADAL" clId="{48AA1D62-B0CE-4774-A68D-44BF1CF9DFC8}" dt="2023-01-19T17:48:17.943" v="1298"/>
          <ac:spMkLst>
            <pc:docMk/>
            <pc:sldMk cId="1203675564" sldId="488"/>
            <ac:spMk id="79" creationId="{4D8422C5-F634-4C73-AD68-ABA2E5E54FBA}"/>
          </ac:spMkLst>
        </pc:spChg>
        <pc:spChg chg="mod">
          <ac:chgData name="Devraj, Keerthi (DI SW ICS ICV OS)" userId="a61e6969-d85e-42d5-913e-c7fe6fb96353" providerId="ADAL" clId="{48AA1D62-B0CE-4774-A68D-44BF1CF9DFC8}" dt="2023-01-19T17:48:17.943" v="1298"/>
          <ac:spMkLst>
            <pc:docMk/>
            <pc:sldMk cId="1203675564" sldId="488"/>
            <ac:spMk id="81" creationId="{610B288D-C188-4C32-9F1D-0DAC7939F167}"/>
          </ac:spMkLst>
        </pc:spChg>
        <pc:spChg chg="mod">
          <ac:chgData name="Devraj, Keerthi (DI SW ICS ICV OS)" userId="a61e6969-d85e-42d5-913e-c7fe6fb96353" providerId="ADAL" clId="{48AA1D62-B0CE-4774-A68D-44BF1CF9DFC8}" dt="2023-01-19T17:48:17.943" v="1298"/>
          <ac:spMkLst>
            <pc:docMk/>
            <pc:sldMk cId="1203675564" sldId="488"/>
            <ac:spMk id="82" creationId="{05E7E527-2972-481A-8205-0B429A95B6C8}"/>
          </ac:spMkLst>
        </pc:spChg>
        <pc:spChg chg="mod">
          <ac:chgData name="Devraj, Keerthi (DI SW ICS ICV OS)" userId="a61e6969-d85e-42d5-913e-c7fe6fb96353" providerId="ADAL" clId="{48AA1D62-B0CE-4774-A68D-44BF1CF9DFC8}" dt="2023-01-19T17:48:17.943" v="1298"/>
          <ac:spMkLst>
            <pc:docMk/>
            <pc:sldMk cId="1203675564" sldId="488"/>
            <ac:spMk id="83" creationId="{6A7BC86F-A46E-4A6E-9A28-AD55F9AC68D8}"/>
          </ac:spMkLst>
        </pc:spChg>
        <pc:spChg chg="mod">
          <ac:chgData name="Devraj, Keerthi (DI SW ICS ICV OS)" userId="a61e6969-d85e-42d5-913e-c7fe6fb96353" providerId="ADAL" clId="{48AA1D62-B0CE-4774-A68D-44BF1CF9DFC8}" dt="2023-01-19T17:48:17.943" v="1298"/>
          <ac:spMkLst>
            <pc:docMk/>
            <pc:sldMk cId="1203675564" sldId="488"/>
            <ac:spMk id="84" creationId="{FC4D5D0D-0B16-48FB-B155-1D2E89DD03FF}"/>
          </ac:spMkLst>
        </pc:spChg>
        <pc:spChg chg="mod">
          <ac:chgData name="Devraj, Keerthi (DI SW ICS ICV OS)" userId="a61e6969-d85e-42d5-913e-c7fe6fb96353" providerId="ADAL" clId="{48AA1D62-B0CE-4774-A68D-44BF1CF9DFC8}" dt="2023-01-19T17:48:17.943" v="1298"/>
          <ac:spMkLst>
            <pc:docMk/>
            <pc:sldMk cId="1203675564" sldId="488"/>
            <ac:spMk id="85" creationId="{2B622313-9E75-4389-B500-F191727A77FD}"/>
          </ac:spMkLst>
        </pc:spChg>
        <pc:spChg chg="mod">
          <ac:chgData name="Devraj, Keerthi (DI SW ICS ICV OS)" userId="a61e6969-d85e-42d5-913e-c7fe6fb96353" providerId="ADAL" clId="{48AA1D62-B0CE-4774-A68D-44BF1CF9DFC8}" dt="2023-01-19T17:48:17.943" v="1298"/>
          <ac:spMkLst>
            <pc:docMk/>
            <pc:sldMk cId="1203675564" sldId="488"/>
            <ac:spMk id="86" creationId="{B76A9B25-61B1-4B2C-B26C-1558C8265652}"/>
          </ac:spMkLst>
        </pc:spChg>
        <pc:spChg chg="mod">
          <ac:chgData name="Devraj, Keerthi (DI SW ICS ICV OS)" userId="a61e6969-d85e-42d5-913e-c7fe6fb96353" providerId="ADAL" clId="{48AA1D62-B0CE-4774-A68D-44BF1CF9DFC8}" dt="2023-01-19T17:48:17.943" v="1298"/>
          <ac:spMkLst>
            <pc:docMk/>
            <pc:sldMk cId="1203675564" sldId="488"/>
            <ac:spMk id="87" creationId="{C3A54A96-0BD1-4BA8-94AA-B81009AC61B0}"/>
          </ac:spMkLst>
        </pc:spChg>
        <pc:spChg chg="mod">
          <ac:chgData name="Devraj, Keerthi (DI SW ICS ICV OS)" userId="a61e6969-d85e-42d5-913e-c7fe6fb96353" providerId="ADAL" clId="{48AA1D62-B0CE-4774-A68D-44BF1CF9DFC8}" dt="2023-01-19T17:48:17.943" v="1298"/>
          <ac:spMkLst>
            <pc:docMk/>
            <pc:sldMk cId="1203675564" sldId="488"/>
            <ac:spMk id="88" creationId="{8FD9936A-128C-439A-AA80-32AB16474080}"/>
          </ac:spMkLst>
        </pc:spChg>
        <pc:spChg chg="mod">
          <ac:chgData name="Devraj, Keerthi (DI SW ICS ICV OS)" userId="a61e6969-d85e-42d5-913e-c7fe6fb96353" providerId="ADAL" clId="{48AA1D62-B0CE-4774-A68D-44BF1CF9DFC8}" dt="2023-01-19T17:48:17.943" v="1298"/>
          <ac:spMkLst>
            <pc:docMk/>
            <pc:sldMk cId="1203675564" sldId="488"/>
            <ac:spMk id="89" creationId="{3CA885F8-F8B0-42CA-BDD1-9B925C481B33}"/>
          </ac:spMkLst>
        </pc:spChg>
        <pc:spChg chg="mod topLvl">
          <ac:chgData name="Devraj, Keerthi (DI SW ICS ICV OS)" userId="a61e6969-d85e-42d5-913e-c7fe6fb96353" providerId="ADAL" clId="{48AA1D62-B0CE-4774-A68D-44BF1CF9DFC8}" dt="2023-01-19T17:49:34.959" v="1376" actId="164"/>
          <ac:spMkLst>
            <pc:docMk/>
            <pc:sldMk cId="1203675564" sldId="488"/>
            <ac:spMk id="92" creationId="{6814B66B-32B2-4F01-BB26-4EE0ABF490E1}"/>
          </ac:spMkLst>
        </pc:spChg>
        <pc:spChg chg="mod topLvl">
          <ac:chgData name="Devraj, Keerthi (DI SW ICS ICV OS)" userId="a61e6969-d85e-42d5-913e-c7fe6fb96353" providerId="ADAL" clId="{48AA1D62-B0CE-4774-A68D-44BF1CF9DFC8}" dt="2023-01-19T17:49:34.959" v="1376" actId="164"/>
          <ac:spMkLst>
            <pc:docMk/>
            <pc:sldMk cId="1203675564" sldId="488"/>
            <ac:spMk id="93" creationId="{0EF8BADC-D0ED-47B5-B77C-63E1EF55B2E1}"/>
          </ac:spMkLst>
        </pc:spChg>
        <pc:spChg chg="mod topLvl">
          <ac:chgData name="Devraj, Keerthi (DI SW ICS ICV OS)" userId="a61e6969-d85e-42d5-913e-c7fe6fb96353" providerId="ADAL" clId="{48AA1D62-B0CE-4774-A68D-44BF1CF9DFC8}" dt="2023-01-19T21:52:03.095" v="2080" actId="1076"/>
          <ac:spMkLst>
            <pc:docMk/>
            <pc:sldMk cId="1203675564" sldId="488"/>
            <ac:spMk id="97" creationId="{EC2E52C8-F46A-433F-95A0-184A03C7B85D}"/>
          </ac:spMkLst>
        </pc:spChg>
        <pc:spChg chg="mod topLvl">
          <ac:chgData name="Devraj, Keerthi (DI SW ICS ICV OS)" userId="a61e6969-d85e-42d5-913e-c7fe6fb96353" providerId="ADAL" clId="{48AA1D62-B0CE-4774-A68D-44BF1CF9DFC8}" dt="2023-01-19T21:52:08.065" v="2081" actId="1076"/>
          <ac:spMkLst>
            <pc:docMk/>
            <pc:sldMk cId="1203675564" sldId="488"/>
            <ac:spMk id="98" creationId="{FA84A743-5DEF-40E5-8316-DF328B4B6978}"/>
          </ac:spMkLst>
        </pc:spChg>
        <pc:spChg chg="mod">
          <ac:chgData name="Devraj, Keerthi (DI SW ICS ICV OS)" userId="a61e6969-d85e-42d5-913e-c7fe6fb96353" providerId="ADAL" clId="{48AA1D62-B0CE-4774-A68D-44BF1CF9DFC8}" dt="2023-01-19T17:49:49.504" v="1378" actId="404"/>
          <ac:spMkLst>
            <pc:docMk/>
            <pc:sldMk cId="1203675564" sldId="488"/>
            <ac:spMk id="99" creationId="{686C7738-4D11-49C4-8C32-37D053BE42E3}"/>
          </ac:spMkLst>
        </pc:spChg>
        <pc:spChg chg="mod">
          <ac:chgData name="Devraj, Keerthi (DI SW ICS ICV OS)" userId="a61e6969-d85e-42d5-913e-c7fe6fb96353" providerId="ADAL" clId="{48AA1D62-B0CE-4774-A68D-44BF1CF9DFC8}" dt="2023-01-19T17:49:04.223" v="1370" actId="165"/>
          <ac:spMkLst>
            <pc:docMk/>
            <pc:sldMk cId="1203675564" sldId="488"/>
            <ac:spMk id="100" creationId="{5DB3AEB0-A178-436A-8DD9-B928EC651443}"/>
          </ac:spMkLst>
        </pc:spChg>
        <pc:spChg chg="mod">
          <ac:chgData name="Devraj, Keerthi (DI SW ICS ICV OS)" userId="a61e6969-d85e-42d5-913e-c7fe6fb96353" providerId="ADAL" clId="{48AA1D62-B0CE-4774-A68D-44BF1CF9DFC8}" dt="2023-01-19T21:52:23.237" v="2097" actId="1035"/>
          <ac:spMkLst>
            <pc:docMk/>
            <pc:sldMk cId="1203675564" sldId="488"/>
            <ac:spMk id="101" creationId="{5AED0BBD-F656-4FCE-96FE-7157001368EF}"/>
          </ac:spMkLst>
        </pc:spChg>
        <pc:spChg chg="mod">
          <ac:chgData name="Devraj, Keerthi (DI SW ICS ICV OS)" userId="a61e6969-d85e-42d5-913e-c7fe6fb96353" providerId="ADAL" clId="{48AA1D62-B0CE-4774-A68D-44BF1CF9DFC8}" dt="2023-01-19T17:49:04.223" v="1370" actId="165"/>
          <ac:spMkLst>
            <pc:docMk/>
            <pc:sldMk cId="1203675564" sldId="488"/>
            <ac:spMk id="102" creationId="{3B1D9A81-0EA6-4D7B-B3CA-E71E5B08EB32}"/>
          </ac:spMkLst>
        </pc:spChg>
        <pc:spChg chg="mod">
          <ac:chgData name="Devraj, Keerthi (DI SW ICS ICV OS)" userId="a61e6969-d85e-42d5-913e-c7fe6fb96353" providerId="ADAL" clId="{48AA1D62-B0CE-4774-A68D-44BF1CF9DFC8}" dt="2023-01-19T21:52:36.566" v="2108" actId="1038"/>
          <ac:spMkLst>
            <pc:docMk/>
            <pc:sldMk cId="1203675564" sldId="488"/>
            <ac:spMk id="103" creationId="{75B1A75C-6087-4FAD-A857-FCC28E3FD1F5}"/>
          </ac:spMkLst>
        </pc:spChg>
        <pc:spChg chg="mod">
          <ac:chgData name="Devraj, Keerthi (DI SW ICS ICV OS)" userId="a61e6969-d85e-42d5-913e-c7fe6fb96353" providerId="ADAL" clId="{48AA1D62-B0CE-4774-A68D-44BF1CF9DFC8}" dt="2023-01-19T17:49:55.633" v="1379" actId="404"/>
          <ac:spMkLst>
            <pc:docMk/>
            <pc:sldMk cId="1203675564" sldId="488"/>
            <ac:spMk id="104" creationId="{87394946-F709-469A-91D2-0B01BF83366D}"/>
          </ac:spMkLst>
        </pc:spChg>
        <pc:spChg chg="mod">
          <ac:chgData name="Devraj, Keerthi (DI SW ICS ICV OS)" userId="a61e6969-d85e-42d5-913e-c7fe6fb96353" providerId="ADAL" clId="{48AA1D62-B0CE-4774-A68D-44BF1CF9DFC8}" dt="2023-01-19T17:49:04.223" v="1370" actId="165"/>
          <ac:spMkLst>
            <pc:docMk/>
            <pc:sldMk cId="1203675564" sldId="488"/>
            <ac:spMk id="105" creationId="{0344166B-BE51-46A3-82E3-14F70D60107A}"/>
          </ac:spMkLst>
        </pc:spChg>
        <pc:spChg chg="mod">
          <ac:chgData name="Devraj, Keerthi (DI SW ICS ICV OS)" userId="a61e6969-d85e-42d5-913e-c7fe6fb96353" providerId="ADAL" clId="{48AA1D62-B0CE-4774-A68D-44BF1CF9DFC8}" dt="2023-01-19T21:51:39.704" v="2075" actId="1035"/>
          <ac:spMkLst>
            <pc:docMk/>
            <pc:sldMk cId="1203675564" sldId="488"/>
            <ac:spMk id="106" creationId="{5876F64B-2DF2-40F9-A4BD-648F77BD9738}"/>
          </ac:spMkLst>
        </pc:spChg>
        <pc:spChg chg="mod">
          <ac:chgData name="Devraj, Keerthi (DI SW ICS ICV OS)" userId="a61e6969-d85e-42d5-913e-c7fe6fb96353" providerId="ADAL" clId="{48AA1D62-B0CE-4774-A68D-44BF1CF9DFC8}" dt="2023-01-19T17:50:01.441" v="1380" actId="404"/>
          <ac:spMkLst>
            <pc:docMk/>
            <pc:sldMk cId="1203675564" sldId="488"/>
            <ac:spMk id="107" creationId="{780DA457-BC20-4B23-922D-D26849753F07}"/>
          </ac:spMkLst>
        </pc:spChg>
        <pc:spChg chg="mod">
          <ac:chgData name="Devraj, Keerthi (DI SW ICS ICV OS)" userId="a61e6969-d85e-42d5-913e-c7fe6fb96353" providerId="ADAL" clId="{48AA1D62-B0CE-4774-A68D-44BF1CF9DFC8}" dt="2023-01-19T17:49:49.504" v="1378" actId="404"/>
          <ac:spMkLst>
            <pc:docMk/>
            <pc:sldMk cId="1203675564" sldId="488"/>
            <ac:spMk id="109" creationId="{6EA2B967-BECA-41D7-A16A-FD1EF59FE07B}"/>
          </ac:spMkLst>
        </pc:spChg>
        <pc:spChg chg="mod">
          <ac:chgData name="Devraj, Keerthi (DI SW ICS ICV OS)" userId="a61e6969-d85e-42d5-913e-c7fe6fb96353" providerId="ADAL" clId="{48AA1D62-B0CE-4774-A68D-44BF1CF9DFC8}" dt="2023-01-19T17:49:04.223" v="1370" actId="165"/>
          <ac:spMkLst>
            <pc:docMk/>
            <pc:sldMk cId="1203675564" sldId="488"/>
            <ac:spMk id="110" creationId="{7F1455BF-C3EB-4D2B-A9AC-1C27A2DBF874}"/>
          </ac:spMkLst>
        </pc:spChg>
        <pc:spChg chg="mod">
          <ac:chgData name="Devraj, Keerthi (DI SW ICS ICV OS)" userId="a61e6969-d85e-42d5-913e-c7fe6fb96353" providerId="ADAL" clId="{48AA1D62-B0CE-4774-A68D-44BF1CF9DFC8}" dt="2023-01-19T21:52:23.237" v="2097" actId="1035"/>
          <ac:spMkLst>
            <pc:docMk/>
            <pc:sldMk cId="1203675564" sldId="488"/>
            <ac:spMk id="111" creationId="{A4C5BBAB-2CA4-4DAF-B011-B8D70A1766E4}"/>
          </ac:spMkLst>
        </pc:spChg>
        <pc:spChg chg="mod">
          <ac:chgData name="Devraj, Keerthi (DI SW ICS ICV OS)" userId="a61e6969-d85e-42d5-913e-c7fe6fb96353" providerId="ADAL" clId="{48AA1D62-B0CE-4774-A68D-44BF1CF9DFC8}" dt="2023-01-19T17:49:04.223" v="1370" actId="165"/>
          <ac:spMkLst>
            <pc:docMk/>
            <pc:sldMk cId="1203675564" sldId="488"/>
            <ac:spMk id="112" creationId="{536A115D-8B96-43C2-BC8F-C42102D76355}"/>
          </ac:spMkLst>
        </pc:spChg>
        <pc:spChg chg="mod">
          <ac:chgData name="Devraj, Keerthi (DI SW ICS ICV OS)" userId="a61e6969-d85e-42d5-913e-c7fe6fb96353" providerId="ADAL" clId="{48AA1D62-B0CE-4774-A68D-44BF1CF9DFC8}" dt="2023-01-19T21:52:36.566" v="2108" actId="1038"/>
          <ac:spMkLst>
            <pc:docMk/>
            <pc:sldMk cId="1203675564" sldId="488"/>
            <ac:spMk id="113" creationId="{03232E18-A1E1-4E6A-84D6-DCFBF4A3EB25}"/>
          </ac:spMkLst>
        </pc:spChg>
        <pc:spChg chg="mod">
          <ac:chgData name="Devraj, Keerthi (DI SW ICS ICV OS)" userId="a61e6969-d85e-42d5-913e-c7fe6fb96353" providerId="ADAL" clId="{48AA1D62-B0CE-4774-A68D-44BF1CF9DFC8}" dt="2023-01-19T17:49:55.633" v="1379" actId="404"/>
          <ac:spMkLst>
            <pc:docMk/>
            <pc:sldMk cId="1203675564" sldId="488"/>
            <ac:spMk id="114" creationId="{065B76D4-0D81-459B-9633-A48E1F187406}"/>
          </ac:spMkLst>
        </pc:spChg>
        <pc:spChg chg="mod">
          <ac:chgData name="Devraj, Keerthi (DI SW ICS ICV OS)" userId="a61e6969-d85e-42d5-913e-c7fe6fb96353" providerId="ADAL" clId="{48AA1D62-B0CE-4774-A68D-44BF1CF9DFC8}" dt="2023-01-19T17:49:04.223" v="1370" actId="165"/>
          <ac:spMkLst>
            <pc:docMk/>
            <pc:sldMk cId="1203675564" sldId="488"/>
            <ac:spMk id="115" creationId="{8603668E-7159-4A55-BCF0-1014B2DFB185}"/>
          </ac:spMkLst>
        </pc:spChg>
        <pc:spChg chg="mod">
          <ac:chgData name="Devraj, Keerthi (DI SW ICS ICV OS)" userId="a61e6969-d85e-42d5-913e-c7fe6fb96353" providerId="ADAL" clId="{48AA1D62-B0CE-4774-A68D-44BF1CF9DFC8}" dt="2023-01-19T21:51:36.339" v="2071" actId="1035"/>
          <ac:spMkLst>
            <pc:docMk/>
            <pc:sldMk cId="1203675564" sldId="488"/>
            <ac:spMk id="116" creationId="{8CF8CD5F-7820-4C8B-902D-20D1E00B2877}"/>
          </ac:spMkLst>
        </pc:spChg>
        <pc:spChg chg="mod">
          <ac:chgData name="Devraj, Keerthi (DI SW ICS ICV OS)" userId="a61e6969-d85e-42d5-913e-c7fe6fb96353" providerId="ADAL" clId="{48AA1D62-B0CE-4774-A68D-44BF1CF9DFC8}" dt="2023-01-19T17:50:01.441" v="1380" actId="404"/>
          <ac:spMkLst>
            <pc:docMk/>
            <pc:sldMk cId="1203675564" sldId="488"/>
            <ac:spMk id="117" creationId="{A0551B9E-5D9B-4281-9F69-9D961D02560F}"/>
          </ac:spMkLst>
        </pc:spChg>
        <pc:spChg chg="add del mod">
          <ac:chgData name="Devraj, Keerthi (DI SW ICS ICV OS)" userId="a61e6969-d85e-42d5-913e-c7fe6fb96353" providerId="ADAL" clId="{48AA1D62-B0CE-4774-A68D-44BF1CF9DFC8}" dt="2023-01-19T17:49:12.372" v="1372"/>
          <ac:spMkLst>
            <pc:docMk/>
            <pc:sldMk cId="1203675564" sldId="488"/>
            <ac:spMk id="119" creationId="{1769AE12-C417-4E9C-B434-1BC737CFB96C}"/>
          </ac:spMkLst>
        </pc:spChg>
        <pc:spChg chg="mod">
          <ac:chgData name="Devraj, Keerthi (DI SW ICS ICV OS)" userId="a61e6969-d85e-42d5-913e-c7fe6fb96353" providerId="ADAL" clId="{48AA1D62-B0CE-4774-A68D-44BF1CF9DFC8}" dt="2023-01-19T17:49:09.797" v="1371"/>
          <ac:spMkLst>
            <pc:docMk/>
            <pc:sldMk cId="1203675564" sldId="488"/>
            <ac:spMk id="121" creationId="{B821ED16-EF9C-450D-99AD-70DB2331FD72}"/>
          </ac:spMkLst>
        </pc:spChg>
        <pc:spChg chg="mod">
          <ac:chgData name="Devraj, Keerthi (DI SW ICS ICV OS)" userId="a61e6969-d85e-42d5-913e-c7fe6fb96353" providerId="ADAL" clId="{48AA1D62-B0CE-4774-A68D-44BF1CF9DFC8}" dt="2023-01-19T17:49:09.797" v="1371"/>
          <ac:spMkLst>
            <pc:docMk/>
            <pc:sldMk cId="1203675564" sldId="488"/>
            <ac:spMk id="122" creationId="{44F5DB5B-2A57-421D-9CCD-CD4A94C480B2}"/>
          </ac:spMkLst>
        </pc:spChg>
        <pc:spChg chg="mod">
          <ac:chgData name="Devraj, Keerthi (DI SW ICS ICV OS)" userId="a61e6969-d85e-42d5-913e-c7fe6fb96353" providerId="ADAL" clId="{48AA1D62-B0CE-4774-A68D-44BF1CF9DFC8}" dt="2023-01-19T17:49:09.797" v="1371"/>
          <ac:spMkLst>
            <pc:docMk/>
            <pc:sldMk cId="1203675564" sldId="488"/>
            <ac:spMk id="123" creationId="{7CFEAF05-4D12-406F-A05E-E4A16DDBF375}"/>
          </ac:spMkLst>
        </pc:spChg>
        <pc:spChg chg="mod">
          <ac:chgData name="Devraj, Keerthi (DI SW ICS ICV OS)" userId="a61e6969-d85e-42d5-913e-c7fe6fb96353" providerId="ADAL" clId="{48AA1D62-B0CE-4774-A68D-44BF1CF9DFC8}" dt="2023-01-19T17:49:09.797" v="1371"/>
          <ac:spMkLst>
            <pc:docMk/>
            <pc:sldMk cId="1203675564" sldId="488"/>
            <ac:spMk id="124" creationId="{6C050B67-93F9-40F9-A1E7-E2AC71D8581D}"/>
          </ac:spMkLst>
        </pc:spChg>
        <pc:spChg chg="mod">
          <ac:chgData name="Devraj, Keerthi (DI SW ICS ICV OS)" userId="a61e6969-d85e-42d5-913e-c7fe6fb96353" providerId="ADAL" clId="{48AA1D62-B0CE-4774-A68D-44BF1CF9DFC8}" dt="2023-01-19T17:49:09.797" v="1371"/>
          <ac:spMkLst>
            <pc:docMk/>
            <pc:sldMk cId="1203675564" sldId="488"/>
            <ac:spMk id="125" creationId="{F887ECD9-BF9C-4854-913A-98D7DF30D45E}"/>
          </ac:spMkLst>
        </pc:spChg>
        <pc:spChg chg="mod">
          <ac:chgData name="Devraj, Keerthi (DI SW ICS ICV OS)" userId="a61e6969-d85e-42d5-913e-c7fe6fb96353" providerId="ADAL" clId="{48AA1D62-B0CE-4774-A68D-44BF1CF9DFC8}" dt="2023-01-19T17:49:09.797" v="1371"/>
          <ac:spMkLst>
            <pc:docMk/>
            <pc:sldMk cId="1203675564" sldId="488"/>
            <ac:spMk id="126" creationId="{3B2CDFCF-2F8B-4BBE-B056-1FD7F866EFC3}"/>
          </ac:spMkLst>
        </pc:spChg>
        <pc:spChg chg="mod">
          <ac:chgData name="Devraj, Keerthi (DI SW ICS ICV OS)" userId="a61e6969-d85e-42d5-913e-c7fe6fb96353" providerId="ADAL" clId="{48AA1D62-B0CE-4774-A68D-44BF1CF9DFC8}" dt="2023-01-19T17:49:09.797" v="1371"/>
          <ac:spMkLst>
            <pc:docMk/>
            <pc:sldMk cId="1203675564" sldId="488"/>
            <ac:spMk id="127" creationId="{2CED4DF9-363A-4EEF-99F9-C3E5BB838D2E}"/>
          </ac:spMkLst>
        </pc:spChg>
        <pc:spChg chg="mod">
          <ac:chgData name="Devraj, Keerthi (DI SW ICS ICV OS)" userId="a61e6969-d85e-42d5-913e-c7fe6fb96353" providerId="ADAL" clId="{48AA1D62-B0CE-4774-A68D-44BF1CF9DFC8}" dt="2023-01-19T17:49:09.797" v="1371"/>
          <ac:spMkLst>
            <pc:docMk/>
            <pc:sldMk cId="1203675564" sldId="488"/>
            <ac:spMk id="128" creationId="{B06172A8-9A98-48A6-9C4A-8724538F0B90}"/>
          </ac:spMkLst>
        </pc:spChg>
        <pc:spChg chg="mod">
          <ac:chgData name="Devraj, Keerthi (DI SW ICS ICV OS)" userId="a61e6969-d85e-42d5-913e-c7fe6fb96353" providerId="ADAL" clId="{48AA1D62-B0CE-4774-A68D-44BF1CF9DFC8}" dt="2023-01-19T17:49:09.797" v="1371"/>
          <ac:spMkLst>
            <pc:docMk/>
            <pc:sldMk cId="1203675564" sldId="488"/>
            <ac:spMk id="129" creationId="{6553AA74-9B12-4A9A-9E55-F08585EC3976}"/>
          </ac:spMkLst>
        </pc:spChg>
        <pc:spChg chg="add del mod">
          <ac:chgData name="Devraj, Keerthi (DI SW ICS ICV OS)" userId="a61e6969-d85e-42d5-913e-c7fe6fb96353" providerId="ADAL" clId="{48AA1D62-B0CE-4774-A68D-44BF1CF9DFC8}" dt="2023-01-19T17:49:12.372" v="1372"/>
          <ac:spMkLst>
            <pc:docMk/>
            <pc:sldMk cId="1203675564" sldId="488"/>
            <ac:spMk id="132" creationId="{8A5885EA-A78F-40CE-913E-96E0A588D8A2}"/>
          </ac:spMkLst>
        </pc:spChg>
        <pc:spChg chg="add del mod">
          <ac:chgData name="Devraj, Keerthi (DI SW ICS ICV OS)" userId="a61e6969-d85e-42d5-913e-c7fe6fb96353" providerId="ADAL" clId="{48AA1D62-B0CE-4774-A68D-44BF1CF9DFC8}" dt="2023-01-19T17:49:12.372" v="1372"/>
          <ac:spMkLst>
            <pc:docMk/>
            <pc:sldMk cId="1203675564" sldId="488"/>
            <ac:spMk id="133" creationId="{FF360C25-EB91-454C-99C3-7A03242FCD80}"/>
          </ac:spMkLst>
        </pc:spChg>
        <pc:spChg chg="add mod">
          <ac:chgData name="Devraj, Keerthi (DI SW ICS ICV OS)" userId="a61e6969-d85e-42d5-913e-c7fe6fb96353" providerId="ADAL" clId="{48AA1D62-B0CE-4774-A68D-44BF1CF9DFC8}" dt="2023-01-19T17:49:34.959" v="1376" actId="164"/>
          <ac:spMkLst>
            <pc:docMk/>
            <pc:sldMk cId="1203675564" sldId="488"/>
            <ac:spMk id="134" creationId="{C18657F0-ACD3-4D94-9275-57A59A88179D}"/>
          </ac:spMkLst>
        </pc:spChg>
        <pc:spChg chg="mod">
          <ac:chgData name="Devraj, Keerthi (DI SW ICS ICV OS)" userId="a61e6969-d85e-42d5-913e-c7fe6fb96353" providerId="ADAL" clId="{48AA1D62-B0CE-4774-A68D-44BF1CF9DFC8}" dt="2023-01-19T17:49:49.504" v="1378" actId="404"/>
          <ac:spMkLst>
            <pc:docMk/>
            <pc:sldMk cId="1203675564" sldId="488"/>
            <ac:spMk id="136" creationId="{F9779037-AE48-4FD1-98BA-D645C1F83DBB}"/>
          </ac:spMkLst>
        </pc:spChg>
        <pc:spChg chg="mod">
          <ac:chgData name="Devraj, Keerthi (DI SW ICS ICV OS)" userId="a61e6969-d85e-42d5-913e-c7fe6fb96353" providerId="ADAL" clId="{48AA1D62-B0CE-4774-A68D-44BF1CF9DFC8}" dt="2023-01-19T17:49:15.227" v="1373"/>
          <ac:spMkLst>
            <pc:docMk/>
            <pc:sldMk cId="1203675564" sldId="488"/>
            <ac:spMk id="137" creationId="{1BA9CD13-1759-47B2-ADAB-ECC036F8BDEC}"/>
          </ac:spMkLst>
        </pc:spChg>
        <pc:spChg chg="mod">
          <ac:chgData name="Devraj, Keerthi (DI SW ICS ICV OS)" userId="a61e6969-d85e-42d5-913e-c7fe6fb96353" providerId="ADAL" clId="{48AA1D62-B0CE-4774-A68D-44BF1CF9DFC8}" dt="2023-01-19T21:52:23.237" v="2097" actId="1035"/>
          <ac:spMkLst>
            <pc:docMk/>
            <pc:sldMk cId="1203675564" sldId="488"/>
            <ac:spMk id="138" creationId="{7B06DA44-902F-421A-800A-DAB424AD8117}"/>
          </ac:spMkLst>
        </pc:spChg>
        <pc:spChg chg="mod">
          <ac:chgData name="Devraj, Keerthi (DI SW ICS ICV OS)" userId="a61e6969-d85e-42d5-913e-c7fe6fb96353" providerId="ADAL" clId="{48AA1D62-B0CE-4774-A68D-44BF1CF9DFC8}" dt="2023-01-19T17:49:15.227" v="1373"/>
          <ac:spMkLst>
            <pc:docMk/>
            <pc:sldMk cId="1203675564" sldId="488"/>
            <ac:spMk id="139" creationId="{6930BC2A-BD47-4E64-97FC-9CC0D452A2A3}"/>
          </ac:spMkLst>
        </pc:spChg>
        <pc:spChg chg="mod">
          <ac:chgData name="Devraj, Keerthi (DI SW ICS ICV OS)" userId="a61e6969-d85e-42d5-913e-c7fe6fb96353" providerId="ADAL" clId="{48AA1D62-B0CE-4774-A68D-44BF1CF9DFC8}" dt="2023-01-19T21:52:36.566" v="2108" actId="1038"/>
          <ac:spMkLst>
            <pc:docMk/>
            <pc:sldMk cId="1203675564" sldId="488"/>
            <ac:spMk id="140" creationId="{2F2F1BA9-9D46-4B23-932C-E0BC4ABCFD82}"/>
          </ac:spMkLst>
        </pc:spChg>
        <pc:spChg chg="mod">
          <ac:chgData name="Devraj, Keerthi (DI SW ICS ICV OS)" userId="a61e6969-d85e-42d5-913e-c7fe6fb96353" providerId="ADAL" clId="{48AA1D62-B0CE-4774-A68D-44BF1CF9DFC8}" dt="2023-01-19T17:49:55.633" v="1379" actId="404"/>
          <ac:spMkLst>
            <pc:docMk/>
            <pc:sldMk cId="1203675564" sldId="488"/>
            <ac:spMk id="141" creationId="{E2E5AF65-1C58-4B5A-A5C6-AC7B0B7F3FE1}"/>
          </ac:spMkLst>
        </pc:spChg>
        <pc:spChg chg="mod">
          <ac:chgData name="Devraj, Keerthi (DI SW ICS ICV OS)" userId="a61e6969-d85e-42d5-913e-c7fe6fb96353" providerId="ADAL" clId="{48AA1D62-B0CE-4774-A68D-44BF1CF9DFC8}" dt="2023-01-19T17:49:15.227" v="1373"/>
          <ac:spMkLst>
            <pc:docMk/>
            <pc:sldMk cId="1203675564" sldId="488"/>
            <ac:spMk id="142" creationId="{F40558EC-57E8-43D3-B3E6-2A6222AAF54D}"/>
          </ac:spMkLst>
        </pc:spChg>
        <pc:spChg chg="mod">
          <ac:chgData name="Devraj, Keerthi (DI SW ICS ICV OS)" userId="a61e6969-d85e-42d5-913e-c7fe6fb96353" providerId="ADAL" clId="{48AA1D62-B0CE-4774-A68D-44BF1CF9DFC8}" dt="2023-01-19T21:51:43.283" v="2079" actId="1035"/>
          <ac:spMkLst>
            <pc:docMk/>
            <pc:sldMk cId="1203675564" sldId="488"/>
            <ac:spMk id="143" creationId="{11E68E28-A836-45AC-8C50-4DC8CB830F52}"/>
          </ac:spMkLst>
        </pc:spChg>
        <pc:spChg chg="mod">
          <ac:chgData name="Devraj, Keerthi (DI SW ICS ICV OS)" userId="a61e6969-d85e-42d5-913e-c7fe6fb96353" providerId="ADAL" clId="{48AA1D62-B0CE-4774-A68D-44BF1CF9DFC8}" dt="2023-01-19T17:50:01.441" v="1380" actId="404"/>
          <ac:spMkLst>
            <pc:docMk/>
            <pc:sldMk cId="1203675564" sldId="488"/>
            <ac:spMk id="144" creationId="{AA5B883C-2A81-4787-B3BC-ABE7F13166D6}"/>
          </ac:spMkLst>
        </pc:spChg>
        <pc:spChg chg="add del mod">
          <ac:chgData name="Devraj, Keerthi (DI SW ICS ICV OS)" userId="a61e6969-d85e-42d5-913e-c7fe6fb96353" providerId="ADAL" clId="{48AA1D62-B0CE-4774-A68D-44BF1CF9DFC8}" dt="2023-01-19T17:49:27.998" v="1375" actId="478"/>
          <ac:spMkLst>
            <pc:docMk/>
            <pc:sldMk cId="1203675564" sldId="488"/>
            <ac:spMk id="147" creationId="{A6F64455-418B-4CA1-A5EA-BB29814BDB85}"/>
          </ac:spMkLst>
        </pc:spChg>
        <pc:spChg chg="add mod">
          <ac:chgData name="Devraj, Keerthi (DI SW ICS ICV OS)" userId="a61e6969-d85e-42d5-913e-c7fe6fb96353" providerId="ADAL" clId="{48AA1D62-B0CE-4774-A68D-44BF1CF9DFC8}" dt="2023-01-19T21:52:12.028" v="2082" actId="1076"/>
          <ac:spMkLst>
            <pc:docMk/>
            <pc:sldMk cId="1203675564" sldId="488"/>
            <ac:spMk id="148" creationId="{9399CC71-E04D-4403-8D30-0BD322EF975A}"/>
          </ac:spMkLst>
        </pc:spChg>
        <pc:spChg chg="add del mod">
          <ac:chgData name="Devraj, Keerthi (DI SW ICS ICV OS)" userId="a61e6969-d85e-42d5-913e-c7fe6fb96353" providerId="ADAL" clId="{48AA1D62-B0CE-4774-A68D-44BF1CF9DFC8}" dt="2023-01-19T22:26:44.646" v="2154" actId="478"/>
          <ac:spMkLst>
            <pc:docMk/>
            <pc:sldMk cId="1203675564" sldId="488"/>
            <ac:spMk id="149" creationId="{C13CDA9D-F11E-4E5B-A9FD-83B178934687}"/>
          </ac:spMkLst>
        </pc:spChg>
        <pc:spChg chg="add mod">
          <ac:chgData name="Devraj, Keerthi (DI SW ICS ICV OS)" userId="a61e6969-d85e-42d5-913e-c7fe6fb96353" providerId="ADAL" clId="{48AA1D62-B0CE-4774-A68D-44BF1CF9DFC8}" dt="2023-01-19T22:52:33.188" v="2200" actId="1076"/>
          <ac:spMkLst>
            <pc:docMk/>
            <pc:sldMk cId="1203675564" sldId="488"/>
            <ac:spMk id="152" creationId="{B7E2F994-D0C8-406B-ABEF-19EAA49D2EB7}"/>
          </ac:spMkLst>
        </pc:spChg>
        <pc:grpChg chg="add mod">
          <ac:chgData name="Devraj, Keerthi (DI SW ICS ICV OS)" userId="a61e6969-d85e-42d5-913e-c7fe6fb96353" providerId="ADAL" clId="{48AA1D62-B0CE-4774-A68D-44BF1CF9DFC8}" dt="2023-01-19T17:49:41.612" v="1377" actId="14100"/>
          <ac:grpSpMkLst>
            <pc:docMk/>
            <pc:sldMk cId="1203675564" sldId="488"/>
            <ac:grpSpMk id="4" creationId="{C893CA41-4B6B-4D4F-9BC5-B3BD5D7A749E}"/>
          </ac:grpSpMkLst>
        </pc:grpChg>
        <pc:grpChg chg="del">
          <ac:chgData name="Devraj, Keerthi (DI SW ICS ICV OS)" userId="a61e6969-d85e-42d5-913e-c7fe6fb96353" providerId="ADAL" clId="{48AA1D62-B0CE-4774-A68D-44BF1CF9DFC8}" dt="2023-01-19T17:48:17.511" v="1297" actId="478"/>
          <ac:grpSpMkLst>
            <pc:docMk/>
            <pc:sldMk cId="1203675564" sldId="488"/>
            <ac:grpSpMk id="11" creationId="{F79D39A0-41EC-4128-ACE8-6630C8F8AB04}"/>
          </ac:grpSpMkLst>
        </pc:grpChg>
        <pc:grpChg chg="add del mod">
          <ac:chgData name="Devraj, Keerthi (DI SW ICS ICV OS)" userId="a61e6969-d85e-42d5-913e-c7fe6fb96353" providerId="ADAL" clId="{48AA1D62-B0CE-4774-A68D-44BF1CF9DFC8}" dt="2023-01-19T17:48:20.904" v="1299"/>
          <ac:grpSpMkLst>
            <pc:docMk/>
            <pc:sldMk cId="1203675564" sldId="488"/>
            <ac:grpSpMk id="41" creationId="{209AD79A-1E16-4101-97BA-31F96272365C}"/>
          </ac:grpSpMkLst>
        </pc:grpChg>
        <pc:grpChg chg="mod">
          <ac:chgData name="Devraj, Keerthi (DI SW ICS ICV OS)" userId="a61e6969-d85e-42d5-913e-c7fe6fb96353" providerId="ADAL" clId="{48AA1D62-B0CE-4774-A68D-44BF1CF9DFC8}" dt="2023-01-19T17:48:17.943" v="1298"/>
          <ac:grpSpMkLst>
            <pc:docMk/>
            <pc:sldMk cId="1203675564" sldId="488"/>
            <ac:grpSpMk id="63" creationId="{1421DEE3-E2E7-42BD-BC5C-E247E9598721}"/>
          </ac:grpSpMkLst>
        </pc:grpChg>
        <pc:grpChg chg="mod">
          <ac:chgData name="Devraj, Keerthi (DI SW ICS ICV OS)" userId="a61e6969-d85e-42d5-913e-c7fe6fb96353" providerId="ADAL" clId="{48AA1D62-B0CE-4774-A68D-44BF1CF9DFC8}" dt="2023-01-19T17:48:17.943" v="1298"/>
          <ac:grpSpMkLst>
            <pc:docMk/>
            <pc:sldMk cId="1203675564" sldId="488"/>
            <ac:grpSpMk id="64" creationId="{EAF71910-3071-4102-B60F-1A3EB1A16ADD}"/>
          </ac:grpSpMkLst>
        </pc:grpChg>
        <pc:grpChg chg="add del mod">
          <ac:chgData name="Devraj, Keerthi (DI SW ICS ICV OS)" userId="a61e6969-d85e-42d5-913e-c7fe6fb96353" providerId="ADAL" clId="{48AA1D62-B0CE-4774-A68D-44BF1CF9DFC8}" dt="2023-01-19T17:49:04.223" v="1370" actId="165"/>
          <ac:grpSpMkLst>
            <pc:docMk/>
            <pc:sldMk cId="1203675564" sldId="488"/>
            <ac:grpSpMk id="91" creationId="{1D9212F3-13DC-41DE-A442-9DD5DA2A4AB1}"/>
          </ac:grpSpMkLst>
        </pc:grpChg>
        <pc:grpChg chg="mod topLvl">
          <ac:chgData name="Devraj, Keerthi (DI SW ICS ICV OS)" userId="a61e6969-d85e-42d5-913e-c7fe6fb96353" providerId="ADAL" clId="{48AA1D62-B0CE-4774-A68D-44BF1CF9DFC8}" dt="2023-01-19T17:49:34.959" v="1376" actId="164"/>
          <ac:grpSpMkLst>
            <pc:docMk/>
            <pc:sldMk cId="1203675564" sldId="488"/>
            <ac:grpSpMk id="94" creationId="{35B87832-8968-4266-A085-A6E1DAEC4642}"/>
          </ac:grpSpMkLst>
        </pc:grpChg>
        <pc:grpChg chg="mod topLvl">
          <ac:chgData name="Devraj, Keerthi (DI SW ICS ICV OS)" userId="a61e6969-d85e-42d5-913e-c7fe6fb96353" providerId="ADAL" clId="{48AA1D62-B0CE-4774-A68D-44BF1CF9DFC8}" dt="2023-01-19T17:49:34.959" v="1376" actId="164"/>
          <ac:grpSpMkLst>
            <pc:docMk/>
            <pc:sldMk cId="1203675564" sldId="488"/>
            <ac:grpSpMk id="95" creationId="{CE7749D9-E36F-4C4E-AF5E-AB1644E4FFC2}"/>
          </ac:grpSpMkLst>
        </pc:grpChg>
        <pc:grpChg chg="add del mod">
          <ac:chgData name="Devraj, Keerthi (DI SW ICS ICV OS)" userId="a61e6969-d85e-42d5-913e-c7fe6fb96353" providerId="ADAL" clId="{48AA1D62-B0CE-4774-A68D-44BF1CF9DFC8}" dt="2023-01-19T17:49:12.372" v="1372"/>
          <ac:grpSpMkLst>
            <pc:docMk/>
            <pc:sldMk cId="1203675564" sldId="488"/>
            <ac:grpSpMk id="120" creationId="{16FE2BFB-8FD8-4233-AEED-BE71DC03FE75}"/>
          </ac:grpSpMkLst>
        </pc:grpChg>
        <pc:grpChg chg="add mod">
          <ac:chgData name="Devraj, Keerthi (DI SW ICS ICV OS)" userId="a61e6969-d85e-42d5-913e-c7fe6fb96353" providerId="ADAL" clId="{48AA1D62-B0CE-4774-A68D-44BF1CF9DFC8}" dt="2023-01-19T17:49:34.959" v="1376" actId="164"/>
          <ac:grpSpMkLst>
            <pc:docMk/>
            <pc:sldMk cId="1203675564" sldId="488"/>
            <ac:grpSpMk id="135" creationId="{66605D46-EB45-459C-979F-C937644DB31A}"/>
          </ac:grpSpMkLst>
        </pc:grpChg>
        <pc:picChg chg="mod">
          <ac:chgData name="Devraj, Keerthi (DI SW ICS ICV OS)" userId="a61e6969-d85e-42d5-913e-c7fe6fb96353" providerId="ADAL" clId="{48AA1D62-B0CE-4774-A68D-44BF1CF9DFC8}" dt="2023-01-19T17:48:17.943" v="1298"/>
          <ac:picMkLst>
            <pc:docMk/>
            <pc:sldMk cId="1203675564" sldId="488"/>
            <ac:picMk id="65" creationId="{65C96BD4-9E22-4F1A-B682-0A15BCA0563D}"/>
          </ac:picMkLst>
        </pc:picChg>
        <pc:picChg chg="mod topLvl">
          <ac:chgData name="Devraj, Keerthi (DI SW ICS ICV OS)" userId="a61e6969-d85e-42d5-913e-c7fe6fb96353" providerId="ADAL" clId="{48AA1D62-B0CE-4774-A68D-44BF1CF9DFC8}" dt="2023-01-19T17:49:34.959" v="1376" actId="164"/>
          <ac:picMkLst>
            <pc:docMk/>
            <pc:sldMk cId="1203675564" sldId="488"/>
            <ac:picMk id="96" creationId="{96A71865-5732-4909-A889-C69219575598}"/>
          </ac:picMkLst>
        </pc:picChg>
        <pc:picChg chg="add del mod">
          <ac:chgData name="Devraj, Keerthi (DI SW ICS ICV OS)" userId="a61e6969-d85e-42d5-913e-c7fe6fb96353" providerId="ADAL" clId="{48AA1D62-B0CE-4774-A68D-44BF1CF9DFC8}" dt="2023-01-19T17:49:12.372" v="1372"/>
          <ac:picMkLst>
            <pc:docMk/>
            <pc:sldMk cId="1203675564" sldId="488"/>
            <ac:picMk id="131" creationId="{2E134BF1-7248-4A83-B7BB-F891B7C11BEB}"/>
          </ac:picMkLst>
        </pc:picChg>
        <pc:picChg chg="add del mod">
          <ac:chgData name="Devraj, Keerthi (DI SW ICS ICV OS)" userId="a61e6969-d85e-42d5-913e-c7fe6fb96353" providerId="ADAL" clId="{48AA1D62-B0CE-4774-A68D-44BF1CF9DFC8}" dt="2023-01-19T17:50:07.597" v="1381" actId="478"/>
          <ac:picMkLst>
            <pc:docMk/>
            <pc:sldMk cId="1203675564" sldId="488"/>
            <ac:picMk id="146" creationId="{C983D363-A7AA-48AB-8F88-463CED3BC9C8}"/>
          </ac:picMkLst>
        </pc:picChg>
        <pc:picChg chg="add mod">
          <ac:chgData name="Devraj, Keerthi (DI SW ICS ICV OS)" userId="a61e6969-d85e-42d5-913e-c7fe6fb96353" providerId="ADAL" clId="{48AA1D62-B0CE-4774-A68D-44BF1CF9DFC8}" dt="2023-01-19T22:52:21.184" v="2198" actId="1038"/>
          <ac:picMkLst>
            <pc:docMk/>
            <pc:sldMk cId="1203675564" sldId="488"/>
            <ac:picMk id="150" creationId="{78992C6A-E107-41DC-99BA-BF3AD609A997}"/>
          </ac:picMkLst>
        </pc:picChg>
        <pc:cxnChg chg="mod">
          <ac:chgData name="Devraj, Keerthi (DI SW ICS ICV OS)" userId="a61e6969-d85e-42d5-913e-c7fe6fb96353" providerId="ADAL" clId="{48AA1D62-B0CE-4774-A68D-44BF1CF9DFC8}" dt="2023-01-19T17:48:17.511" v="1297" actId="478"/>
          <ac:cxnSpMkLst>
            <pc:docMk/>
            <pc:sldMk cId="1203675564" sldId="488"/>
            <ac:cxnSpMk id="46" creationId="{84B0B780-7DBB-40B5-B6FE-8E0AB3EA46A3}"/>
          </ac:cxnSpMkLst>
        </pc:cxnChg>
        <pc:cxnChg chg="mod">
          <ac:chgData name="Devraj, Keerthi (DI SW ICS ICV OS)" userId="a61e6969-d85e-42d5-913e-c7fe6fb96353" providerId="ADAL" clId="{48AA1D62-B0CE-4774-A68D-44BF1CF9DFC8}" dt="2023-01-19T17:48:17.511" v="1297" actId="478"/>
          <ac:cxnSpMkLst>
            <pc:docMk/>
            <pc:sldMk cId="1203675564" sldId="488"/>
            <ac:cxnSpMk id="58" creationId="{8D9810BE-19D8-4198-BCB2-6BC03B71E53C}"/>
          </ac:cxnSpMkLst>
        </pc:cxnChg>
        <pc:cxnChg chg="mod">
          <ac:chgData name="Devraj, Keerthi (DI SW ICS ICV OS)" userId="a61e6969-d85e-42d5-913e-c7fe6fb96353" providerId="ADAL" clId="{48AA1D62-B0CE-4774-A68D-44BF1CF9DFC8}" dt="2023-01-19T17:48:17.943" v="1298"/>
          <ac:cxnSpMkLst>
            <pc:docMk/>
            <pc:sldMk cId="1203675564" sldId="488"/>
            <ac:cxnSpMk id="80" creationId="{00471E27-476E-4CB3-A589-2B86CE51F469}"/>
          </ac:cxnSpMkLst>
        </pc:cxnChg>
        <pc:cxnChg chg="mod">
          <ac:chgData name="Devraj, Keerthi (DI SW ICS ICV OS)" userId="a61e6969-d85e-42d5-913e-c7fe6fb96353" providerId="ADAL" clId="{48AA1D62-B0CE-4774-A68D-44BF1CF9DFC8}" dt="2023-01-19T17:48:17.943" v="1298"/>
          <ac:cxnSpMkLst>
            <pc:docMk/>
            <pc:sldMk cId="1203675564" sldId="488"/>
            <ac:cxnSpMk id="90" creationId="{1415CD2D-6B57-4FD5-905F-E8B5EFB20729}"/>
          </ac:cxnSpMkLst>
        </pc:cxnChg>
        <pc:cxnChg chg="mod">
          <ac:chgData name="Devraj, Keerthi (DI SW ICS ICV OS)" userId="a61e6969-d85e-42d5-913e-c7fe6fb96353" providerId="ADAL" clId="{48AA1D62-B0CE-4774-A68D-44BF1CF9DFC8}" dt="2023-01-19T17:49:04.223" v="1370" actId="165"/>
          <ac:cxnSpMkLst>
            <pc:docMk/>
            <pc:sldMk cId="1203675564" sldId="488"/>
            <ac:cxnSpMk id="108" creationId="{E63D498E-C432-4FED-A2F9-3120C34FBEA8}"/>
          </ac:cxnSpMkLst>
        </pc:cxnChg>
        <pc:cxnChg chg="mod">
          <ac:chgData name="Devraj, Keerthi (DI SW ICS ICV OS)" userId="a61e6969-d85e-42d5-913e-c7fe6fb96353" providerId="ADAL" clId="{48AA1D62-B0CE-4774-A68D-44BF1CF9DFC8}" dt="2023-01-19T17:49:04.223" v="1370" actId="165"/>
          <ac:cxnSpMkLst>
            <pc:docMk/>
            <pc:sldMk cId="1203675564" sldId="488"/>
            <ac:cxnSpMk id="118" creationId="{5F75C64A-A090-45E6-8919-C1AFB932F715}"/>
          </ac:cxnSpMkLst>
        </pc:cxnChg>
        <pc:cxnChg chg="mod">
          <ac:chgData name="Devraj, Keerthi (DI SW ICS ICV OS)" userId="a61e6969-d85e-42d5-913e-c7fe6fb96353" providerId="ADAL" clId="{48AA1D62-B0CE-4774-A68D-44BF1CF9DFC8}" dt="2023-01-19T17:49:09.797" v="1371"/>
          <ac:cxnSpMkLst>
            <pc:docMk/>
            <pc:sldMk cId="1203675564" sldId="488"/>
            <ac:cxnSpMk id="130" creationId="{36F2628C-96F2-4F4B-8CCF-6A4D830A2AF0}"/>
          </ac:cxnSpMkLst>
        </pc:cxnChg>
        <pc:cxnChg chg="mod">
          <ac:chgData name="Devraj, Keerthi (DI SW ICS ICV OS)" userId="a61e6969-d85e-42d5-913e-c7fe6fb96353" providerId="ADAL" clId="{48AA1D62-B0CE-4774-A68D-44BF1CF9DFC8}" dt="2023-01-19T17:49:15.227" v="1373"/>
          <ac:cxnSpMkLst>
            <pc:docMk/>
            <pc:sldMk cId="1203675564" sldId="488"/>
            <ac:cxnSpMk id="145" creationId="{DFCE04B9-2218-4C85-8074-4B537CBD7786}"/>
          </ac:cxnSpMkLst>
        </pc:cxnChg>
        <pc:cxnChg chg="add mod">
          <ac:chgData name="Devraj, Keerthi (DI SW ICS ICV OS)" userId="a61e6969-d85e-42d5-913e-c7fe6fb96353" providerId="ADAL" clId="{48AA1D62-B0CE-4774-A68D-44BF1CF9DFC8}" dt="2023-01-19T22:52:17.918" v="2191" actId="1076"/>
          <ac:cxnSpMkLst>
            <pc:docMk/>
            <pc:sldMk cId="1203675564" sldId="488"/>
            <ac:cxnSpMk id="151" creationId="{561C7C0B-B9CC-4570-9886-3BD56A69EEA4}"/>
          </ac:cxnSpMkLst>
        </pc:cxnChg>
      </pc:sldChg>
      <pc:sldChg chg="delSp modSp add mod">
        <pc:chgData name="Devraj, Keerthi (DI SW ICS ICV OS)" userId="a61e6969-d85e-42d5-913e-c7fe6fb96353" providerId="ADAL" clId="{48AA1D62-B0CE-4774-A68D-44BF1CF9DFC8}" dt="2023-01-19T21:55:01.312" v="2148" actId="478"/>
        <pc:sldMkLst>
          <pc:docMk/>
          <pc:sldMk cId="2922216778" sldId="489"/>
        </pc:sldMkLst>
        <pc:spChg chg="mod">
          <ac:chgData name="Devraj, Keerthi (DI SW ICS ICV OS)" userId="a61e6969-d85e-42d5-913e-c7fe6fb96353" providerId="ADAL" clId="{48AA1D62-B0CE-4774-A68D-44BF1CF9DFC8}" dt="2023-01-19T19:05:00.491" v="1977" actId="20577"/>
          <ac:spMkLst>
            <pc:docMk/>
            <pc:sldMk cId="2922216778" sldId="489"/>
            <ac:spMk id="2" creationId="{C55C16BD-EA5C-4958-A62D-34A6BDF7811B}"/>
          </ac:spMkLst>
        </pc:spChg>
        <pc:spChg chg="mod">
          <ac:chgData name="Devraj, Keerthi (DI SW ICS ICV OS)" userId="a61e6969-d85e-42d5-913e-c7fe6fb96353" providerId="ADAL" clId="{48AA1D62-B0CE-4774-A68D-44BF1CF9DFC8}" dt="2023-01-19T19:06:11.972" v="1978" actId="1076"/>
          <ac:spMkLst>
            <pc:docMk/>
            <pc:sldMk cId="2922216778" sldId="489"/>
            <ac:spMk id="67" creationId="{CEA36EDD-72FE-45CF-B714-97A3DBB6E09F}"/>
          </ac:spMkLst>
        </pc:spChg>
        <pc:spChg chg="del">
          <ac:chgData name="Devraj, Keerthi (DI SW ICS ICV OS)" userId="a61e6969-d85e-42d5-913e-c7fe6fb96353" providerId="ADAL" clId="{48AA1D62-B0CE-4774-A68D-44BF1CF9DFC8}" dt="2023-01-19T21:54:59.501" v="2147" actId="478"/>
          <ac:spMkLst>
            <pc:docMk/>
            <pc:sldMk cId="2922216778" sldId="489"/>
            <ac:spMk id="80" creationId="{DF201288-C4EA-42A5-B33D-C1DE3DAB29F0}"/>
          </ac:spMkLst>
        </pc:spChg>
        <pc:spChg chg="del">
          <ac:chgData name="Devraj, Keerthi (DI SW ICS ICV OS)" userId="a61e6969-d85e-42d5-913e-c7fe6fb96353" providerId="ADAL" clId="{48AA1D62-B0CE-4774-A68D-44BF1CF9DFC8}" dt="2023-01-19T21:55:01.312" v="2148" actId="478"/>
          <ac:spMkLst>
            <pc:docMk/>
            <pc:sldMk cId="2922216778" sldId="489"/>
            <ac:spMk id="82" creationId="{C44B1CA2-255C-48E7-A629-3EC3FD8A01C2}"/>
          </ac:spMkLst>
        </pc:spChg>
      </pc:sldChg>
      <pc:sldChg chg="addSp modSp add mod">
        <pc:chgData name="Devraj, Keerthi (DI SW ICS ICV OS)" userId="a61e6969-d85e-42d5-913e-c7fe6fb96353" providerId="ADAL" clId="{48AA1D62-B0CE-4774-A68D-44BF1CF9DFC8}" dt="2023-01-19T22:11:52.389" v="2151" actId="6549"/>
        <pc:sldMkLst>
          <pc:docMk/>
          <pc:sldMk cId="2583961516" sldId="490"/>
        </pc:sldMkLst>
        <pc:spChg chg="mod">
          <ac:chgData name="Devraj, Keerthi (DI SW ICS ICV OS)" userId="a61e6969-d85e-42d5-913e-c7fe6fb96353" providerId="ADAL" clId="{48AA1D62-B0CE-4774-A68D-44BF1CF9DFC8}" dt="2023-01-19T22:11:52.389" v="2151" actId="6549"/>
          <ac:spMkLst>
            <pc:docMk/>
            <pc:sldMk cId="2583961516" sldId="490"/>
            <ac:spMk id="2" creationId="{C55C16BD-EA5C-4958-A62D-34A6BDF7811B}"/>
          </ac:spMkLst>
        </pc:spChg>
        <pc:spChg chg="mod">
          <ac:chgData name="Devraj, Keerthi (DI SW ICS ICV OS)" userId="a61e6969-d85e-42d5-913e-c7fe6fb96353" providerId="ADAL" clId="{48AA1D62-B0CE-4774-A68D-44BF1CF9DFC8}" dt="2023-01-19T21:54:25.294" v="2146" actId="113"/>
          <ac:spMkLst>
            <pc:docMk/>
            <pc:sldMk cId="2583961516" sldId="490"/>
            <ac:spMk id="67" creationId="{CEA36EDD-72FE-45CF-B714-97A3DBB6E09F}"/>
          </ac:spMkLst>
        </pc:spChg>
        <pc:picChg chg="add mod">
          <ac:chgData name="Devraj, Keerthi (DI SW ICS ICV OS)" userId="a61e6969-d85e-42d5-913e-c7fe6fb96353" providerId="ADAL" clId="{48AA1D62-B0CE-4774-A68D-44BF1CF9DFC8}" dt="2023-01-19T19:01:04.649" v="1839" actId="1076"/>
          <ac:picMkLst>
            <pc:docMk/>
            <pc:sldMk cId="2583961516" sldId="490"/>
            <ac:picMk id="27" creationId="{9A220A10-099D-4A08-B2D0-11AC985BF98E}"/>
          </ac:picMkLst>
        </pc:picChg>
      </pc:sldChg>
      <pc:sldChg chg="modSp add mod">
        <pc:chgData name="Devraj, Keerthi (DI SW ICS ICV OS)" userId="a61e6969-d85e-42d5-913e-c7fe6fb96353" providerId="ADAL" clId="{48AA1D62-B0CE-4774-A68D-44BF1CF9DFC8}" dt="2023-01-20T00:05:38.552" v="3254" actId="20577"/>
        <pc:sldMkLst>
          <pc:docMk/>
          <pc:sldMk cId="803156198" sldId="491"/>
        </pc:sldMkLst>
        <pc:spChg chg="mod">
          <ac:chgData name="Devraj, Keerthi (DI SW ICS ICV OS)" userId="a61e6969-d85e-42d5-913e-c7fe6fb96353" providerId="ADAL" clId="{48AA1D62-B0CE-4774-A68D-44BF1CF9DFC8}" dt="2023-01-19T23:18:12.846" v="2454" actId="6549"/>
          <ac:spMkLst>
            <pc:docMk/>
            <pc:sldMk cId="803156198" sldId="491"/>
            <ac:spMk id="2" creationId="{C55C16BD-EA5C-4958-A62D-34A6BDF7811B}"/>
          </ac:spMkLst>
        </pc:spChg>
        <pc:spChg chg="mod">
          <ac:chgData name="Devraj, Keerthi (DI SW ICS ICV OS)" userId="a61e6969-d85e-42d5-913e-c7fe6fb96353" providerId="ADAL" clId="{48AA1D62-B0CE-4774-A68D-44BF1CF9DFC8}" dt="2023-01-20T00:05:38.552" v="3254" actId="20577"/>
          <ac:spMkLst>
            <pc:docMk/>
            <pc:sldMk cId="803156198" sldId="491"/>
            <ac:spMk id="61" creationId="{B4C48D27-5730-4383-B8E3-AA5A8B38C927}"/>
          </ac:spMkLst>
        </pc:spChg>
      </pc:sldChg>
      <pc:sldChg chg="addSp delSp modSp add mod">
        <pc:chgData name="Devraj, Keerthi (DI SW ICS ICV OS)" userId="a61e6969-d85e-42d5-913e-c7fe6fb96353" providerId="ADAL" clId="{48AA1D62-B0CE-4774-A68D-44BF1CF9DFC8}" dt="2023-01-20T00:01:10.054" v="3252" actId="20577"/>
        <pc:sldMkLst>
          <pc:docMk/>
          <pc:sldMk cId="2735260240" sldId="492"/>
        </pc:sldMkLst>
        <pc:spChg chg="mod">
          <ac:chgData name="Devraj, Keerthi (DI SW ICS ICV OS)" userId="a61e6969-d85e-42d5-913e-c7fe6fb96353" providerId="ADAL" clId="{48AA1D62-B0CE-4774-A68D-44BF1CF9DFC8}" dt="2023-01-19T23:52:35.901" v="3065" actId="20577"/>
          <ac:spMkLst>
            <pc:docMk/>
            <pc:sldMk cId="2735260240" sldId="492"/>
            <ac:spMk id="2" creationId="{C55C16BD-EA5C-4958-A62D-34A6BDF7811B}"/>
          </ac:spMkLst>
        </pc:spChg>
        <pc:spChg chg="del">
          <ac:chgData name="Devraj, Keerthi (DI SW ICS ICV OS)" userId="a61e6969-d85e-42d5-913e-c7fe6fb96353" providerId="ADAL" clId="{48AA1D62-B0CE-4774-A68D-44BF1CF9DFC8}" dt="2023-01-19T23:52:43.718" v="3066" actId="478"/>
          <ac:spMkLst>
            <pc:docMk/>
            <pc:sldMk cId="2735260240" sldId="492"/>
            <ac:spMk id="8" creationId="{AFEAC8A7-8B72-4428-99F4-74C5EE6D11A2}"/>
          </ac:spMkLst>
        </pc:spChg>
        <pc:spChg chg="mod">
          <ac:chgData name="Devraj, Keerthi (DI SW ICS ICV OS)" userId="a61e6969-d85e-42d5-913e-c7fe6fb96353" providerId="ADAL" clId="{48AA1D62-B0CE-4774-A68D-44BF1CF9DFC8}" dt="2023-01-19T23:52:59.696" v="3067"/>
          <ac:spMkLst>
            <pc:docMk/>
            <pc:sldMk cId="2735260240" sldId="492"/>
            <ac:spMk id="51" creationId="{B69DEF3D-CCB3-4CC0-8D88-65C87564FD5E}"/>
          </ac:spMkLst>
        </pc:spChg>
        <pc:spChg chg="mod">
          <ac:chgData name="Devraj, Keerthi (DI SW ICS ICV OS)" userId="a61e6969-d85e-42d5-913e-c7fe6fb96353" providerId="ADAL" clId="{48AA1D62-B0CE-4774-A68D-44BF1CF9DFC8}" dt="2023-01-19T23:52:59.696" v="3067"/>
          <ac:spMkLst>
            <pc:docMk/>
            <pc:sldMk cId="2735260240" sldId="492"/>
            <ac:spMk id="52" creationId="{3966E9CD-1594-479A-9291-5312400C5859}"/>
          </ac:spMkLst>
        </pc:spChg>
        <pc:spChg chg="mod">
          <ac:chgData name="Devraj, Keerthi (DI SW ICS ICV OS)" userId="a61e6969-d85e-42d5-913e-c7fe6fb96353" providerId="ADAL" clId="{48AA1D62-B0CE-4774-A68D-44BF1CF9DFC8}" dt="2023-01-19T23:52:59.696" v="3067"/>
          <ac:spMkLst>
            <pc:docMk/>
            <pc:sldMk cId="2735260240" sldId="492"/>
            <ac:spMk id="56" creationId="{C40A488A-5D68-4D9F-B5DA-0733095A79BF}"/>
          </ac:spMkLst>
        </pc:spChg>
        <pc:spChg chg="mod">
          <ac:chgData name="Devraj, Keerthi (DI SW ICS ICV OS)" userId="a61e6969-d85e-42d5-913e-c7fe6fb96353" providerId="ADAL" clId="{48AA1D62-B0CE-4774-A68D-44BF1CF9DFC8}" dt="2023-01-19T23:52:59.696" v="3067"/>
          <ac:spMkLst>
            <pc:docMk/>
            <pc:sldMk cId="2735260240" sldId="492"/>
            <ac:spMk id="57" creationId="{566B97FC-88BE-455A-8603-6A7E324F4EDF}"/>
          </ac:spMkLst>
        </pc:spChg>
        <pc:spChg chg="mod">
          <ac:chgData name="Devraj, Keerthi (DI SW ICS ICV OS)" userId="a61e6969-d85e-42d5-913e-c7fe6fb96353" providerId="ADAL" clId="{48AA1D62-B0CE-4774-A68D-44BF1CF9DFC8}" dt="2023-01-19T23:52:59.696" v="3067"/>
          <ac:spMkLst>
            <pc:docMk/>
            <pc:sldMk cId="2735260240" sldId="492"/>
            <ac:spMk id="58" creationId="{03C9F4AD-857B-40C1-B208-F552DF08B99B}"/>
          </ac:spMkLst>
        </pc:spChg>
        <pc:spChg chg="mod">
          <ac:chgData name="Devraj, Keerthi (DI SW ICS ICV OS)" userId="a61e6969-d85e-42d5-913e-c7fe6fb96353" providerId="ADAL" clId="{48AA1D62-B0CE-4774-A68D-44BF1CF9DFC8}" dt="2023-01-19T23:52:59.696" v="3067"/>
          <ac:spMkLst>
            <pc:docMk/>
            <pc:sldMk cId="2735260240" sldId="492"/>
            <ac:spMk id="59" creationId="{D9C87D90-8EC1-4E72-8513-DC56CDB9B6C5}"/>
          </ac:spMkLst>
        </pc:spChg>
        <pc:spChg chg="mod">
          <ac:chgData name="Devraj, Keerthi (DI SW ICS ICV OS)" userId="a61e6969-d85e-42d5-913e-c7fe6fb96353" providerId="ADAL" clId="{48AA1D62-B0CE-4774-A68D-44BF1CF9DFC8}" dt="2023-01-19T23:52:59.696" v="3067"/>
          <ac:spMkLst>
            <pc:docMk/>
            <pc:sldMk cId="2735260240" sldId="492"/>
            <ac:spMk id="60" creationId="{EDB8B4A1-3126-4A3B-822B-08C719F47898}"/>
          </ac:spMkLst>
        </pc:spChg>
        <pc:spChg chg="del">
          <ac:chgData name="Devraj, Keerthi (DI SW ICS ICV OS)" userId="a61e6969-d85e-42d5-913e-c7fe6fb96353" providerId="ADAL" clId="{48AA1D62-B0CE-4774-A68D-44BF1CF9DFC8}" dt="2023-01-19T23:52:43.718" v="3066" actId="478"/>
          <ac:spMkLst>
            <pc:docMk/>
            <pc:sldMk cId="2735260240" sldId="492"/>
            <ac:spMk id="61" creationId="{B4C48D27-5730-4383-B8E3-AA5A8B38C927}"/>
          </ac:spMkLst>
        </pc:spChg>
        <pc:spChg chg="mod">
          <ac:chgData name="Devraj, Keerthi (DI SW ICS ICV OS)" userId="a61e6969-d85e-42d5-913e-c7fe6fb96353" providerId="ADAL" clId="{48AA1D62-B0CE-4774-A68D-44BF1CF9DFC8}" dt="2023-01-19T23:52:59.696" v="3067"/>
          <ac:spMkLst>
            <pc:docMk/>
            <pc:sldMk cId="2735260240" sldId="492"/>
            <ac:spMk id="62" creationId="{E6F4D16A-9D60-4FCD-86E5-D4E71141C835}"/>
          </ac:spMkLst>
        </pc:spChg>
        <pc:spChg chg="mod">
          <ac:chgData name="Devraj, Keerthi (DI SW ICS ICV OS)" userId="a61e6969-d85e-42d5-913e-c7fe6fb96353" providerId="ADAL" clId="{48AA1D62-B0CE-4774-A68D-44BF1CF9DFC8}" dt="2023-01-19T23:52:59.696" v="3067"/>
          <ac:spMkLst>
            <pc:docMk/>
            <pc:sldMk cId="2735260240" sldId="492"/>
            <ac:spMk id="63" creationId="{F59E45FA-9078-4F1D-B2BF-D5E404DC3EBB}"/>
          </ac:spMkLst>
        </pc:spChg>
        <pc:spChg chg="mod">
          <ac:chgData name="Devraj, Keerthi (DI SW ICS ICV OS)" userId="a61e6969-d85e-42d5-913e-c7fe6fb96353" providerId="ADAL" clId="{48AA1D62-B0CE-4774-A68D-44BF1CF9DFC8}" dt="2023-01-19T23:52:59.696" v="3067"/>
          <ac:spMkLst>
            <pc:docMk/>
            <pc:sldMk cId="2735260240" sldId="492"/>
            <ac:spMk id="64" creationId="{A89EC2FF-9B62-459F-857A-E512C2A97AD3}"/>
          </ac:spMkLst>
        </pc:spChg>
        <pc:spChg chg="mod">
          <ac:chgData name="Devraj, Keerthi (DI SW ICS ICV OS)" userId="a61e6969-d85e-42d5-913e-c7fe6fb96353" providerId="ADAL" clId="{48AA1D62-B0CE-4774-A68D-44BF1CF9DFC8}" dt="2023-01-19T23:52:59.696" v="3067"/>
          <ac:spMkLst>
            <pc:docMk/>
            <pc:sldMk cId="2735260240" sldId="492"/>
            <ac:spMk id="65" creationId="{CD936DAE-3DC7-4D4A-8396-E4C485A4F23E}"/>
          </ac:spMkLst>
        </pc:spChg>
        <pc:spChg chg="mod">
          <ac:chgData name="Devraj, Keerthi (DI SW ICS ICV OS)" userId="a61e6969-d85e-42d5-913e-c7fe6fb96353" providerId="ADAL" clId="{48AA1D62-B0CE-4774-A68D-44BF1CF9DFC8}" dt="2023-01-19T23:52:59.696" v="3067"/>
          <ac:spMkLst>
            <pc:docMk/>
            <pc:sldMk cId="2735260240" sldId="492"/>
            <ac:spMk id="66" creationId="{C904653B-1C4F-4CF4-82A3-02C6BF399273}"/>
          </ac:spMkLst>
        </pc:spChg>
        <pc:spChg chg="mod">
          <ac:chgData name="Devraj, Keerthi (DI SW ICS ICV OS)" userId="a61e6969-d85e-42d5-913e-c7fe6fb96353" providerId="ADAL" clId="{48AA1D62-B0CE-4774-A68D-44BF1CF9DFC8}" dt="2023-01-19T23:52:59.696" v="3067"/>
          <ac:spMkLst>
            <pc:docMk/>
            <pc:sldMk cId="2735260240" sldId="492"/>
            <ac:spMk id="67" creationId="{607A8144-2A26-4B26-A5F3-96E39E6CB014}"/>
          </ac:spMkLst>
        </pc:spChg>
        <pc:spChg chg="mod">
          <ac:chgData name="Devraj, Keerthi (DI SW ICS ICV OS)" userId="a61e6969-d85e-42d5-913e-c7fe6fb96353" providerId="ADAL" clId="{48AA1D62-B0CE-4774-A68D-44BF1CF9DFC8}" dt="2023-01-19T23:52:59.696" v="3067"/>
          <ac:spMkLst>
            <pc:docMk/>
            <pc:sldMk cId="2735260240" sldId="492"/>
            <ac:spMk id="69" creationId="{7CA4C385-6922-407E-98C2-7182F3E88A5A}"/>
          </ac:spMkLst>
        </pc:spChg>
        <pc:spChg chg="mod">
          <ac:chgData name="Devraj, Keerthi (DI SW ICS ICV OS)" userId="a61e6969-d85e-42d5-913e-c7fe6fb96353" providerId="ADAL" clId="{48AA1D62-B0CE-4774-A68D-44BF1CF9DFC8}" dt="2023-01-19T23:52:59.696" v="3067"/>
          <ac:spMkLst>
            <pc:docMk/>
            <pc:sldMk cId="2735260240" sldId="492"/>
            <ac:spMk id="70" creationId="{536737AD-0A6B-427C-A749-CD1DB3D14709}"/>
          </ac:spMkLst>
        </pc:spChg>
        <pc:spChg chg="mod">
          <ac:chgData name="Devraj, Keerthi (DI SW ICS ICV OS)" userId="a61e6969-d85e-42d5-913e-c7fe6fb96353" providerId="ADAL" clId="{48AA1D62-B0CE-4774-A68D-44BF1CF9DFC8}" dt="2023-01-19T23:52:59.696" v="3067"/>
          <ac:spMkLst>
            <pc:docMk/>
            <pc:sldMk cId="2735260240" sldId="492"/>
            <ac:spMk id="71" creationId="{BB393BF6-1C4B-46A3-A7E6-033D3DE289C7}"/>
          </ac:spMkLst>
        </pc:spChg>
        <pc:spChg chg="mod">
          <ac:chgData name="Devraj, Keerthi (DI SW ICS ICV OS)" userId="a61e6969-d85e-42d5-913e-c7fe6fb96353" providerId="ADAL" clId="{48AA1D62-B0CE-4774-A68D-44BF1CF9DFC8}" dt="2023-01-19T23:52:59.696" v="3067"/>
          <ac:spMkLst>
            <pc:docMk/>
            <pc:sldMk cId="2735260240" sldId="492"/>
            <ac:spMk id="72" creationId="{E73904BC-C2E6-4466-8152-8AA65750D135}"/>
          </ac:spMkLst>
        </pc:spChg>
        <pc:spChg chg="mod">
          <ac:chgData name="Devraj, Keerthi (DI SW ICS ICV OS)" userId="a61e6969-d85e-42d5-913e-c7fe6fb96353" providerId="ADAL" clId="{48AA1D62-B0CE-4774-A68D-44BF1CF9DFC8}" dt="2023-01-19T23:52:59.696" v="3067"/>
          <ac:spMkLst>
            <pc:docMk/>
            <pc:sldMk cId="2735260240" sldId="492"/>
            <ac:spMk id="73" creationId="{CF0BFC3F-73A9-41F4-B881-416FA173279F}"/>
          </ac:spMkLst>
        </pc:spChg>
        <pc:spChg chg="mod">
          <ac:chgData name="Devraj, Keerthi (DI SW ICS ICV OS)" userId="a61e6969-d85e-42d5-913e-c7fe6fb96353" providerId="ADAL" clId="{48AA1D62-B0CE-4774-A68D-44BF1CF9DFC8}" dt="2023-01-19T23:52:59.696" v="3067"/>
          <ac:spMkLst>
            <pc:docMk/>
            <pc:sldMk cId="2735260240" sldId="492"/>
            <ac:spMk id="74" creationId="{63C27183-DB2A-44FC-8F4A-76B8C9F555D9}"/>
          </ac:spMkLst>
        </pc:spChg>
        <pc:spChg chg="mod">
          <ac:chgData name="Devraj, Keerthi (DI SW ICS ICV OS)" userId="a61e6969-d85e-42d5-913e-c7fe6fb96353" providerId="ADAL" clId="{48AA1D62-B0CE-4774-A68D-44BF1CF9DFC8}" dt="2023-01-19T23:52:59.696" v="3067"/>
          <ac:spMkLst>
            <pc:docMk/>
            <pc:sldMk cId="2735260240" sldId="492"/>
            <ac:spMk id="75" creationId="{56FB68FD-D75D-4FDF-8876-85ABCB5C24A0}"/>
          </ac:spMkLst>
        </pc:spChg>
        <pc:spChg chg="mod">
          <ac:chgData name="Devraj, Keerthi (DI SW ICS ICV OS)" userId="a61e6969-d85e-42d5-913e-c7fe6fb96353" providerId="ADAL" clId="{48AA1D62-B0CE-4774-A68D-44BF1CF9DFC8}" dt="2023-01-19T23:52:59.696" v="3067"/>
          <ac:spMkLst>
            <pc:docMk/>
            <pc:sldMk cId="2735260240" sldId="492"/>
            <ac:spMk id="76" creationId="{7CFFB045-A3A2-43E6-93D8-40CC28C12F52}"/>
          </ac:spMkLst>
        </pc:spChg>
        <pc:spChg chg="mod">
          <ac:chgData name="Devraj, Keerthi (DI SW ICS ICV OS)" userId="a61e6969-d85e-42d5-913e-c7fe6fb96353" providerId="ADAL" clId="{48AA1D62-B0CE-4774-A68D-44BF1CF9DFC8}" dt="2023-01-19T23:52:59.696" v="3067"/>
          <ac:spMkLst>
            <pc:docMk/>
            <pc:sldMk cId="2735260240" sldId="492"/>
            <ac:spMk id="77" creationId="{6081A40B-A1DE-486E-B50F-CA50CF9732E4}"/>
          </ac:spMkLst>
        </pc:spChg>
        <pc:spChg chg="add mod">
          <ac:chgData name="Devraj, Keerthi (DI SW ICS ICV OS)" userId="a61e6969-d85e-42d5-913e-c7fe6fb96353" providerId="ADAL" clId="{48AA1D62-B0CE-4774-A68D-44BF1CF9DFC8}" dt="2023-01-20T00:01:10.054" v="3252" actId="20577"/>
          <ac:spMkLst>
            <pc:docMk/>
            <pc:sldMk cId="2735260240" sldId="492"/>
            <ac:spMk id="79" creationId="{F03F8B4A-F341-49A5-9C5A-03921EB02FA0}"/>
          </ac:spMkLst>
        </pc:spChg>
        <pc:spChg chg="add mod">
          <ac:chgData name="Devraj, Keerthi (DI SW ICS ICV OS)" userId="a61e6969-d85e-42d5-913e-c7fe6fb96353" providerId="ADAL" clId="{48AA1D62-B0CE-4774-A68D-44BF1CF9DFC8}" dt="2023-01-19T23:52:59.696" v="3067"/>
          <ac:spMkLst>
            <pc:docMk/>
            <pc:sldMk cId="2735260240" sldId="492"/>
            <ac:spMk id="80" creationId="{FD06BDF8-2884-4BF4-8DE9-164B6B5CDCE4}"/>
          </ac:spMkLst>
        </pc:spChg>
        <pc:spChg chg="add mod">
          <ac:chgData name="Devraj, Keerthi (DI SW ICS ICV OS)" userId="a61e6969-d85e-42d5-913e-c7fe6fb96353" providerId="ADAL" clId="{48AA1D62-B0CE-4774-A68D-44BF1CF9DFC8}" dt="2023-01-19T23:52:59.696" v="3067"/>
          <ac:spMkLst>
            <pc:docMk/>
            <pc:sldMk cId="2735260240" sldId="492"/>
            <ac:spMk id="81" creationId="{CDA76670-C270-465E-BBAD-49D695F97AD3}"/>
          </ac:spMkLst>
        </pc:spChg>
        <pc:spChg chg="del">
          <ac:chgData name="Devraj, Keerthi (DI SW ICS ICV OS)" userId="a61e6969-d85e-42d5-913e-c7fe6fb96353" providerId="ADAL" clId="{48AA1D62-B0CE-4774-A68D-44BF1CF9DFC8}" dt="2023-01-19T23:52:43.718" v="3066" actId="478"/>
          <ac:spMkLst>
            <pc:docMk/>
            <pc:sldMk cId="2735260240" sldId="492"/>
            <ac:spMk id="152" creationId="{B7E2F994-D0C8-406B-ABEF-19EAA49D2EB7}"/>
          </ac:spMkLst>
        </pc:spChg>
        <pc:grpChg chg="del">
          <ac:chgData name="Devraj, Keerthi (DI SW ICS ICV OS)" userId="a61e6969-d85e-42d5-913e-c7fe6fb96353" providerId="ADAL" clId="{48AA1D62-B0CE-4774-A68D-44BF1CF9DFC8}" dt="2023-01-19T23:52:43.718" v="3066" actId="478"/>
          <ac:grpSpMkLst>
            <pc:docMk/>
            <pc:sldMk cId="2735260240" sldId="492"/>
            <ac:grpSpMk id="4" creationId="{C893CA41-4B6B-4D4F-9BC5-B3BD5D7A749E}"/>
          </ac:grpSpMkLst>
        </pc:grpChg>
        <pc:grpChg chg="add mod">
          <ac:chgData name="Devraj, Keerthi (DI SW ICS ICV OS)" userId="a61e6969-d85e-42d5-913e-c7fe6fb96353" providerId="ADAL" clId="{48AA1D62-B0CE-4774-A68D-44BF1CF9DFC8}" dt="2023-01-19T23:52:59.696" v="3067"/>
          <ac:grpSpMkLst>
            <pc:docMk/>
            <pc:sldMk cId="2735260240" sldId="492"/>
            <ac:grpSpMk id="50" creationId="{4884B874-4126-4EC7-86BD-BE6439E89268}"/>
          </ac:grpSpMkLst>
        </pc:grpChg>
        <pc:grpChg chg="mod">
          <ac:chgData name="Devraj, Keerthi (DI SW ICS ICV OS)" userId="a61e6969-d85e-42d5-913e-c7fe6fb96353" providerId="ADAL" clId="{48AA1D62-B0CE-4774-A68D-44BF1CF9DFC8}" dt="2023-01-19T23:52:59.696" v="3067"/>
          <ac:grpSpMkLst>
            <pc:docMk/>
            <pc:sldMk cId="2735260240" sldId="492"/>
            <ac:grpSpMk id="53" creationId="{6023D038-BC76-433E-90E3-60750350D9F1}"/>
          </ac:grpSpMkLst>
        </pc:grpChg>
        <pc:grpChg chg="mod">
          <ac:chgData name="Devraj, Keerthi (DI SW ICS ICV OS)" userId="a61e6969-d85e-42d5-913e-c7fe6fb96353" providerId="ADAL" clId="{48AA1D62-B0CE-4774-A68D-44BF1CF9DFC8}" dt="2023-01-19T23:52:59.696" v="3067"/>
          <ac:grpSpMkLst>
            <pc:docMk/>
            <pc:sldMk cId="2735260240" sldId="492"/>
            <ac:grpSpMk id="54" creationId="{ECE004F7-4129-4822-A093-BC4540C99D78}"/>
          </ac:grpSpMkLst>
        </pc:grpChg>
        <pc:picChg chg="mod">
          <ac:chgData name="Devraj, Keerthi (DI SW ICS ICV OS)" userId="a61e6969-d85e-42d5-913e-c7fe6fb96353" providerId="ADAL" clId="{48AA1D62-B0CE-4774-A68D-44BF1CF9DFC8}" dt="2023-01-19T23:52:59.696" v="3067"/>
          <ac:picMkLst>
            <pc:docMk/>
            <pc:sldMk cId="2735260240" sldId="492"/>
            <ac:picMk id="55" creationId="{016808C5-98FE-4F9D-BA62-77131D6E8029}"/>
          </ac:picMkLst>
        </pc:picChg>
        <pc:picChg chg="del">
          <ac:chgData name="Devraj, Keerthi (DI SW ICS ICV OS)" userId="a61e6969-d85e-42d5-913e-c7fe6fb96353" providerId="ADAL" clId="{48AA1D62-B0CE-4774-A68D-44BF1CF9DFC8}" dt="2023-01-19T23:52:43.718" v="3066" actId="478"/>
          <ac:picMkLst>
            <pc:docMk/>
            <pc:sldMk cId="2735260240" sldId="492"/>
            <ac:picMk id="150" creationId="{78992C6A-E107-41DC-99BA-BF3AD609A997}"/>
          </ac:picMkLst>
        </pc:picChg>
        <pc:cxnChg chg="mod">
          <ac:chgData name="Devraj, Keerthi (DI SW ICS ICV OS)" userId="a61e6969-d85e-42d5-913e-c7fe6fb96353" providerId="ADAL" clId="{48AA1D62-B0CE-4774-A68D-44BF1CF9DFC8}" dt="2023-01-19T23:52:59.696" v="3067"/>
          <ac:cxnSpMkLst>
            <pc:docMk/>
            <pc:sldMk cId="2735260240" sldId="492"/>
            <ac:cxnSpMk id="68" creationId="{4DC95FD4-B2AD-47A7-9FB8-44A0BB6C1E9B}"/>
          </ac:cxnSpMkLst>
        </pc:cxnChg>
        <pc:cxnChg chg="mod">
          <ac:chgData name="Devraj, Keerthi (DI SW ICS ICV OS)" userId="a61e6969-d85e-42d5-913e-c7fe6fb96353" providerId="ADAL" clId="{48AA1D62-B0CE-4774-A68D-44BF1CF9DFC8}" dt="2023-01-19T23:52:59.696" v="3067"/>
          <ac:cxnSpMkLst>
            <pc:docMk/>
            <pc:sldMk cId="2735260240" sldId="492"/>
            <ac:cxnSpMk id="78" creationId="{0CAA82A1-A93C-40EC-A626-D84C90F05660}"/>
          </ac:cxnSpMkLst>
        </pc:cxnChg>
        <pc:cxnChg chg="mod">
          <ac:chgData name="Devraj, Keerthi (DI SW ICS ICV OS)" userId="a61e6969-d85e-42d5-913e-c7fe6fb96353" providerId="ADAL" clId="{48AA1D62-B0CE-4774-A68D-44BF1CF9DFC8}" dt="2023-01-19T23:52:43.718" v="3066" actId="478"/>
          <ac:cxnSpMkLst>
            <pc:docMk/>
            <pc:sldMk cId="2735260240" sldId="492"/>
            <ac:cxnSpMk id="108" creationId="{E63D498E-C432-4FED-A2F9-3120C34FBEA8}"/>
          </ac:cxnSpMkLst>
        </pc:cxnChg>
        <pc:cxnChg chg="mod">
          <ac:chgData name="Devraj, Keerthi (DI SW ICS ICV OS)" userId="a61e6969-d85e-42d5-913e-c7fe6fb96353" providerId="ADAL" clId="{48AA1D62-B0CE-4774-A68D-44BF1CF9DFC8}" dt="2023-01-19T23:52:43.718" v="3066" actId="478"/>
          <ac:cxnSpMkLst>
            <pc:docMk/>
            <pc:sldMk cId="2735260240" sldId="492"/>
            <ac:cxnSpMk id="118" creationId="{5F75C64A-A090-45E6-8919-C1AFB932F715}"/>
          </ac:cxnSpMkLst>
        </pc:cxnChg>
        <pc:cxnChg chg="mod">
          <ac:chgData name="Devraj, Keerthi (DI SW ICS ICV OS)" userId="a61e6969-d85e-42d5-913e-c7fe6fb96353" providerId="ADAL" clId="{48AA1D62-B0CE-4774-A68D-44BF1CF9DFC8}" dt="2023-01-19T23:52:43.718" v="3066" actId="478"/>
          <ac:cxnSpMkLst>
            <pc:docMk/>
            <pc:sldMk cId="2735260240" sldId="492"/>
            <ac:cxnSpMk id="145" creationId="{DFCE04B9-2218-4C85-8074-4B537CBD7786}"/>
          </ac:cxnSpMkLst>
        </pc:cxnChg>
        <pc:cxnChg chg="del">
          <ac:chgData name="Devraj, Keerthi (DI SW ICS ICV OS)" userId="a61e6969-d85e-42d5-913e-c7fe6fb96353" providerId="ADAL" clId="{48AA1D62-B0CE-4774-A68D-44BF1CF9DFC8}" dt="2023-01-19T23:52:43.718" v="3066" actId="478"/>
          <ac:cxnSpMkLst>
            <pc:docMk/>
            <pc:sldMk cId="2735260240" sldId="492"/>
            <ac:cxnSpMk id="151" creationId="{561C7C0B-B9CC-4570-9886-3BD56A69EEA4}"/>
          </ac:cxnSpMkLst>
        </pc:cxnChg>
      </pc:sldChg>
      <pc:sldMasterChg chg="delSldLayout">
        <pc:chgData name="Devraj, Keerthi (DI SW ICS ICV OS)" userId="a61e6969-d85e-42d5-913e-c7fe6fb96353" providerId="ADAL" clId="{48AA1D62-B0CE-4774-A68D-44BF1CF9DFC8}" dt="2023-01-19T23:38:21.270" v="3010" actId="47"/>
        <pc:sldMasterMkLst>
          <pc:docMk/>
          <pc:sldMasterMk cId="1698585145" sldId="2147483648"/>
        </pc:sldMasterMkLst>
        <pc:sldLayoutChg chg="del">
          <pc:chgData name="Devraj, Keerthi (DI SW ICS ICV OS)" userId="a61e6969-d85e-42d5-913e-c7fe6fb96353" providerId="ADAL" clId="{48AA1D62-B0CE-4774-A68D-44BF1CF9DFC8}" dt="2023-01-19T23:38:21.270" v="3010" actId="47"/>
          <pc:sldLayoutMkLst>
            <pc:docMk/>
            <pc:sldMasterMk cId="1698585145" sldId="2147483648"/>
            <pc:sldLayoutMk cId="303676076" sldId="2147483756"/>
          </pc:sldLayoutMkLst>
        </pc:sldLayoutChg>
      </pc:sldMasterChg>
    </pc:docChg>
  </pc:docChgLst>
  <pc:docChgLst>
    <pc:chgData name="Devraj, Keerthi (DI SW ICS ICV OS)" userId="a61e6969-d85e-42d5-913e-c7fe6fb96353" providerId="ADAL" clId="{72AD7523-10E7-45E1-AEB1-543283E64569}"/>
    <pc:docChg chg="undo custSel addSld modSld sldOrd">
      <pc:chgData name="Devraj, Keerthi (DI SW ICS ICV OS)" userId="a61e6969-d85e-42d5-913e-c7fe6fb96353" providerId="ADAL" clId="{72AD7523-10E7-45E1-AEB1-543283E64569}" dt="2023-04-05T11:40:31.130" v="5512" actId="20577"/>
      <pc:docMkLst>
        <pc:docMk/>
      </pc:docMkLst>
      <pc:sldChg chg="modSp mod">
        <pc:chgData name="Devraj, Keerthi (DI SW ICS ICV OS)" userId="a61e6969-d85e-42d5-913e-c7fe6fb96353" providerId="ADAL" clId="{72AD7523-10E7-45E1-AEB1-543283E64569}" dt="2023-04-04T09:18:57.678" v="5141" actId="20577"/>
        <pc:sldMkLst>
          <pc:docMk/>
          <pc:sldMk cId="4047077203" sldId="453"/>
        </pc:sldMkLst>
        <pc:spChg chg="mod">
          <ac:chgData name="Devraj, Keerthi (DI SW ICS ICV OS)" userId="a61e6969-d85e-42d5-913e-c7fe6fb96353" providerId="ADAL" clId="{72AD7523-10E7-45E1-AEB1-543283E64569}" dt="2023-04-04T09:18:57.678" v="5141" actId="20577"/>
          <ac:spMkLst>
            <pc:docMk/>
            <pc:sldMk cId="4047077203" sldId="453"/>
            <ac:spMk id="3" creationId="{898CE0F1-5315-4EE2-B93D-C6DDDC77C5CC}"/>
          </ac:spMkLst>
        </pc:spChg>
      </pc:sldChg>
      <pc:sldChg chg="modNotesTx">
        <pc:chgData name="Devraj, Keerthi (DI SW ICS ICV OS)" userId="a61e6969-d85e-42d5-913e-c7fe6fb96353" providerId="ADAL" clId="{72AD7523-10E7-45E1-AEB1-543283E64569}" dt="2023-04-04T07:17:19.215" v="566" actId="20577"/>
        <pc:sldMkLst>
          <pc:docMk/>
          <pc:sldMk cId="4226669685" sldId="1174"/>
        </pc:sldMkLst>
      </pc:sldChg>
      <pc:sldChg chg="addSp modSp mod">
        <pc:chgData name="Devraj, Keerthi (DI SW ICS ICV OS)" userId="a61e6969-d85e-42d5-913e-c7fe6fb96353" providerId="ADAL" clId="{72AD7523-10E7-45E1-AEB1-543283E64569}" dt="2023-04-03T20:56:32.537" v="1" actId="6549"/>
        <pc:sldMkLst>
          <pc:docMk/>
          <pc:sldMk cId="2941114977" sldId="1175"/>
        </pc:sldMkLst>
        <pc:spChg chg="add mod">
          <ac:chgData name="Devraj, Keerthi (DI SW ICS ICV OS)" userId="a61e6969-d85e-42d5-913e-c7fe6fb96353" providerId="ADAL" clId="{72AD7523-10E7-45E1-AEB1-543283E64569}" dt="2023-04-03T20:56:18.782" v="0"/>
          <ac:spMkLst>
            <pc:docMk/>
            <pc:sldMk cId="2941114977" sldId="1175"/>
            <ac:spMk id="4" creationId="{DC60742A-CE39-8ED7-768C-FC2B6524A44B}"/>
          </ac:spMkLst>
        </pc:spChg>
        <pc:spChg chg="mod">
          <ac:chgData name="Devraj, Keerthi (DI SW ICS ICV OS)" userId="a61e6969-d85e-42d5-913e-c7fe6fb96353" providerId="ADAL" clId="{72AD7523-10E7-45E1-AEB1-543283E64569}" dt="2023-04-03T20:56:32.537" v="1" actId="6549"/>
          <ac:spMkLst>
            <pc:docMk/>
            <pc:sldMk cId="2941114977" sldId="1175"/>
            <ac:spMk id="67" creationId="{F008CFB5-2BBC-E592-CA75-31B10D2813A6}"/>
          </ac:spMkLst>
        </pc:spChg>
      </pc:sldChg>
      <pc:sldChg chg="addSp delSp modSp add mod modNotesTx">
        <pc:chgData name="Devraj, Keerthi (DI SW ICS ICV OS)" userId="a61e6969-d85e-42d5-913e-c7fe6fb96353" providerId="ADAL" clId="{72AD7523-10E7-45E1-AEB1-543283E64569}" dt="2023-04-04T08:53:43.486" v="3961" actId="20577"/>
        <pc:sldMkLst>
          <pc:docMk/>
          <pc:sldMk cId="1304839731" sldId="1179"/>
        </pc:sldMkLst>
        <pc:spChg chg="mod">
          <ac:chgData name="Devraj, Keerthi (DI SW ICS ICV OS)" userId="a61e6969-d85e-42d5-913e-c7fe6fb96353" providerId="ADAL" clId="{72AD7523-10E7-45E1-AEB1-543283E64569}" dt="2023-04-04T00:38:20.262" v="532" actId="20577"/>
          <ac:spMkLst>
            <pc:docMk/>
            <pc:sldMk cId="1304839731" sldId="1179"/>
            <ac:spMk id="2" creationId="{4DE4C822-5737-A56E-B0DD-965DB7754D69}"/>
          </ac:spMkLst>
        </pc:spChg>
        <pc:spChg chg="del">
          <ac:chgData name="Devraj, Keerthi (DI SW ICS ICV OS)" userId="a61e6969-d85e-42d5-913e-c7fe6fb96353" providerId="ADAL" clId="{72AD7523-10E7-45E1-AEB1-543283E64569}" dt="2023-04-04T00:38:26.017" v="533" actId="478"/>
          <ac:spMkLst>
            <pc:docMk/>
            <pc:sldMk cId="1304839731" sldId="1179"/>
            <ac:spMk id="4" creationId="{46684745-2989-A45B-3931-8C11E3E2B896}"/>
          </ac:spMkLst>
        </pc:spChg>
        <pc:spChg chg="add del mod">
          <ac:chgData name="Devraj, Keerthi (DI SW ICS ICV OS)" userId="a61e6969-d85e-42d5-913e-c7fe6fb96353" providerId="ADAL" clId="{72AD7523-10E7-45E1-AEB1-543283E64569}" dt="2023-04-04T00:40:19.269" v="540" actId="478"/>
          <ac:spMkLst>
            <pc:docMk/>
            <pc:sldMk cId="1304839731" sldId="1179"/>
            <ac:spMk id="5" creationId="{FC1BFDAB-B555-1F88-4443-0A766C15A52F}"/>
          </ac:spMkLst>
        </pc:spChg>
        <pc:spChg chg="del">
          <ac:chgData name="Devraj, Keerthi (DI SW ICS ICV OS)" userId="a61e6969-d85e-42d5-913e-c7fe6fb96353" providerId="ADAL" clId="{72AD7523-10E7-45E1-AEB1-543283E64569}" dt="2023-04-04T00:38:26.017" v="533" actId="478"/>
          <ac:spMkLst>
            <pc:docMk/>
            <pc:sldMk cId="1304839731" sldId="1179"/>
            <ac:spMk id="6" creationId="{FAB5D30D-30B9-C11E-FA6C-DFE57AB93A6D}"/>
          </ac:spMkLst>
        </pc:spChg>
        <pc:spChg chg="del">
          <ac:chgData name="Devraj, Keerthi (DI SW ICS ICV OS)" userId="a61e6969-d85e-42d5-913e-c7fe6fb96353" providerId="ADAL" clId="{72AD7523-10E7-45E1-AEB1-543283E64569}" dt="2023-04-04T00:38:26.017" v="533" actId="478"/>
          <ac:spMkLst>
            <pc:docMk/>
            <pc:sldMk cId="1304839731" sldId="1179"/>
            <ac:spMk id="7" creationId="{48DCCAAF-647A-D85A-86BD-70D1B103BFE3}"/>
          </ac:spMkLst>
        </pc:spChg>
        <pc:spChg chg="add mod">
          <ac:chgData name="Devraj, Keerthi (DI SW ICS ICV OS)" userId="a61e6969-d85e-42d5-913e-c7fe6fb96353" providerId="ADAL" clId="{72AD7523-10E7-45E1-AEB1-543283E64569}" dt="2023-04-04T07:37:46.334" v="1199" actId="20577"/>
          <ac:spMkLst>
            <pc:docMk/>
            <pc:sldMk cId="1304839731" sldId="1179"/>
            <ac:spMk id="8" creationId="{6BE9BBD0-B574-2B66-26B7-96C16DE3BE33}"/>
          </ac:spMkLst>
        </pc:spChg>
        <pc:spChg chg="del">
          <ac:chgData name="Devraj, Keerthi (DI SW ICS ICV OS)" userId="a61e6969-d85e-42d5-913e-c7fe6fb96353" providerId="ADAL" clId="{72AD7523-10E7-45E1-AEB1-543283E64569}" dt="2023-04-04T00:38:26.017" v="533" actId="478"/>
          <ac:spMkLst>
            <pc:docMk/>
            <pc:sldMk cId="1304839731" sldId="1179"/>
            <ac:spMk id="23" creationId="{D4CD5E7F-6093-DB44-F053-8F00CAB013E7}"/>
          </ac:spMkLst>
        </pc:spChg>
        <pc:spChg chg="del">
          <ac:chgData name="Devraj, Keerthi (DI SW ICS ICV OS)" userId="a61e6969-d85e-42d5-913e-c7fe6fb96353" providerId="ADAL" clId="{72AD7523-10E7-45E1-AEB1-543283E64569}" dt="2023-04-04T00:38:26.017" v="533" actId="478"/>
          <ac:spMkLst>
            <pc:docMk/>
            <pc:sldMk cId="1304839731" sldId="1179"/>
            <ac:spMk id="29" creationId="{8437B73D-6244-CAF2-C8A3-BA4C68B165F9}"/>
          </ac:spMkLst>
        </pc:spChg>
        <pc:spChg chg="del">
          <ac:chgData name="Devraj, Keerthi (DI SW ICS ICV OS)" userId="a61e6969-d85e-42d5-913e-c7fe6fb96353" providerId="ADAL" clId="{72AD7523-10E7-45E1-AEB1-543283E64569}" dt="2023-04-04T00:38:26.017" v="533" actId="478"/>
          <ac:spMkLst>
            <pc:docMk/>
            <pc:sldMk cId="1304839731" sldId="1179"/>
            <ac:spMk id="30" creationId="{31895B92-6E2B-59F5-61B6-62DFE1527A3C}"/>
          </ac:spMkLst>
        </pc:spChg>
        <pc:spChg chg="del">
          <ac:chgData name="Devraj, Keerthi (DI SW ICS ICV OS)" userId="a61e6969-d85e-42d5-913e-c7fe6fb96353" providerId="ADAL" clId="{72AD7523-10E7-45E1-AEB1-543283E64569}" dt="2023-04-04T00:38:26.017" v="533" actId="478"/>
          <ac:spMkLst>
            <pc:docMk/>
            <pc:sldMk cId="1304839731" sldId="1179"/>
            <ac:spMk id="31" creationId="{F3D12CA6-C2C5-3BA0-E288-05843FD5B77C}"/>
          </ac:spMkLst>
        </pc:spChg>
        <pc:spChg chg="del">
          <ac:chgData name="Devraj, Keerthi (DI SW ICS ICV OS)" userId="a61e6969-d85e-42d5-913e-c7fe6fb96353" providerId="ADAL" clId="{72AD7523-10E7-45E1-AEB1-543283E64569}" dt="2023-04-04T00:38:26.017" v="533" actId="478"/>
          <ac:spMkLst>
            <pc:docMk/>
            <pc:sldMk cId="1304839731" sldId="1179"/>
            <ac:spMk id="32" creationId="{56A975AD-34A4-C075-9337-8820CD95951B}"/>
          </ac:spMkLst>
        </pc:spChg>
        <pc:spChg chg="del">
          <ac:chgData name="Devraj, Keerthi (DI SW ICS ICV OS)" userId="a61e6969-d85e-42d5-913e-c7fe6fb96353" providerId="ADAL" clId="{72AD7523-10E7-45E1-AEB1-543283E64569}" dt="2023-04-04T00:38:26.017" v="533" actId="478"/>
          <ac:spMkLst>
            <pc:docMk/>
            <pc:sldMk cId="1304839731" sldId="1179"/>
            <ac:spMk id="33" creationId="{1F30404D-7259-B896-588E-6CA3391C2350}"/>
          </ac:spMkLst>
        </pc:spChg>
        <pc:spChg chg="del">
          <ac:chgData name="Devraj, Keerthi (DI SW ICS ICV OS)" userId="a61e6969-d85e-42d5-913e-c7fe6fb96353" providerId="ADAL" clId="{72AD7523-10E7-45E1-AEB1-543283E64569}" dt="2023-04-04T00:38:26.017" v="533" actId="478"/>
          <ac:spMkLst>
            <pc:docMk/>
            <pc:sldMk cId="1304839731" sldId="1179"/>
            <ac:spMk id="36" creationId="{D2634535-E64C-A1D1-6FC1-F6252F571235}"/>
          </ac:spMkLst>
        </pc:spChg>
        <pc:spChg chg="del">
          <ac:chgData name="Devraj, Keerthi (DI SW ICS ICV OS)" userId="a61e6969-d85e-42d5-913e-c7fe6fb96353" providerId="ADAL" clId="{72AD7523-10E7-45E1-AEB1-543283E64569}" dt="2023-04-04T00:38:26.017" v="533" actId="478"/>
          <ac:spMkLst>
            <pc:docMk/>
            <pc:sldMk cId="1304839731" sldId="1179"/>
            <ac:spMk id="37" creationId="{E95859FD-14DA-1738-AA18-DF902F600EDD}"/>
          </ac:spMkLst>
        </pc:spChg>
        <pc:spChg chg="del">
          <ac:chgData name="Devraj, Keerthi (DI SW ICS ICV OS)" userId="a61e6969-d85e-42d5-913e-c7fe6fb96353" providerId="ADAL" clId="{72AD7523-10E7-45E1-AEB1-543283E64569}" dt="2023-04-04T00:38:26.017" v="533" actId="478"/>
          <ac:spMkLst>
            <pc:docMk/>
            <pc:sldMk cId="1304839731" sldId="1179"/>
            <ac:spMk id="38" creationId="{21F20DE3-06D6-AE2A-3965-68AB25A5593D}"/>
          </ac:spMkLst>
        </pc:spChg>
        <pc:picChg chg="del">
          <ac:chgData name="Devraj, Keerthi (DI SW ICS ICV OS)" userId="a61e6969-d85e-42d5-913e-c7fe6fb96353" providerId="ADAL" clId="{72AD7523-10E7-45E1-AEB1-543283E64569}" dt="2023-04-04T00:38:26.017" v="533" actId="478"/>
          <ac:picMkLst>
            <pc:docMk/>
            <pc:sldMk cId="1304839731" sldId="1179"/>
            <ac:picMk id="9" creationId="{C745B0F5-021D-1A23-8D13-F8FBD3E4A655}"/>
          </ac:picMkLst>
        </pc:picChg>
        <pc:picChg chg="del">
          <ac:chgData name="Devraj, Keerthi (DI SW ICS ICV OS)" userId="a61e6969-d85e-42d5-913e-c7fe6fb96353" providerId="ADAL" clId="{72AD7523-10E7-45E1-AEB1-543283E64569}" dt="2023-04-04T00:38:26.017" v="533" actId="478"/>
          <ac:picMkLst>
            <pc:docMk/>
            <pc:sldMk cId="1304839731" sldId="1179"/>
            <ac:picMk id="44" creationId="{DD9AE794-EBDC-F8F5-C3DC-146ABFE4F88D}"/>
          </ac:picMkLst>
        </pc:picChg>
        <pc:picChg chg="del">
          <ac:chgData name="Devraj, Keerthi (DI SW ICS ICV OS)" userId="a61e6969-d85e-42d5-913e-c7fe6fb96353" providerId="ADAL" clId="{72AD7523-10E7-45E1-AEB1-543283E64569}" dt="2023-04-04T00:38:26.017" v="533" actId="478"/>
          <ac:picMkLst>
            <pc:docMk/>
            <pc:sldMk cId="1304839731" sldId="1179"/>
            <ac:picMk id="46" creationId="{46E12423-29A0-5F21-3297-155AFE41FCE5}"/>
          </ac:picMkLst>
        </pc:picChg>
        <pc:cxnChg chg="del mod">
          <ac:chgData name="Devraj, Keerthi (DI SW ICS ICV OS)" userId="a61e6969-d85e-42d5-913e-c7fe6fb96353" providerId="ADAL" clId="{72AD7523-10E7-45E1-AEB1-543283E64569}" dt="2023-04-04T00:38:26.017" v="533" actId="478"/>
          <ac:cxnSpMkLst>
            <pc:docMk/>
            <pc:sldMk cId="1304839731" sldId="1179"/>
            <ac:cxnSpMk id="11" creationId="{41F8147C-1C8F-48DF-15DF-5CC0532AA114}"/>
          </ac:cxnSpMkLst>
        </pc:cxnChg>
        <pc:cxnChg chg="del mod">
          <ac:chgData name="Devraj, Keerthi (DI SW ICS ICV OS)" userId="a61e6969-d85e-42d5-913e-c7fe6fb96353" providerId="ADAL" clId="{72AD7523-10E7-45E1-AEB1-543283E64569}" dt="2023-04-04T00:38:26.017" v="533" actId="478"/>
          <ac:cxnSpMkLst>
            <pc:docMk/>
            <pc:sldMk cId="1304839731" sldId="1179"/>
            <ac:cxnSpMk id="14" creationId="{471FC8A1-4BF5-60B9-A26E-F2FA328A365E}"/>
          </ac:cxnSpMkLst>
        </pc:cxnChg>
        <pc:cxnChg chg="del mod">
          <ac:chgData name="Devraj, Keerthi (DI SW ICS ICV OS)" userId="a61e6969-d85e-42d5-913e-c7fe6fb96353" providerId="ADAL" clId="{72AD7523-10E7-45E1-AEB1-543283E64569}" dt="2023-04-04T00:38:26.017" v="533" actId="478"/>
          <ac:cxnSpMkLst>
            <pc:docMk/>
            <pc:sldMk cId="1304839731" sldId="1179"/>
            <ac:cxnSpMk id="15" creationId="{3F41B5EC-93D1-E79E-5BF8-10EEE2A02314}"/>
          </ac:cxnSpMkLst>
        </pc:cxnChg>
        <pc:cxnChg chg="del">
          <ac:chgData name="Devraj, Keerthi (DI SW ICS ICV OS)" userId="a61e6969-d85e-42d5-913e-c7fe6fb96353" providerId="ADAL" clId="{72AD7523-10E7-45E1-AEB1-543283E64569}" dt="2023-04-04T00:38:26.017" v="533" actId="478"/>
          <ac:cxnSpMkLst>
            <pc:docMk/>
            <pc:sldMk cId="1304839731" sldId="1179"/>
            <ac:cxnSpMk id="25" creationId="{77805570-0793-E85E-9407-004A6C76D0C5}"/>
          </ac:cxnSpMkLst>
        </pc:cxnChg>
        <pc:cxnChg chg="del">
          <ac:chgData name="Devraj, Keerthi (DI SW ICS ICV OS)" userId="a61e6969-d85e-42d5-913e-c7fe6fb96353" providerId="ADAL" clId="{72AD7523-10E7-45E1-AEB1-543283E64569}" dt="2023-04-04T00:38:26.017" v="533" actId="478"/>
          <ac:cxnSpMkLst>
            <pc:docMk/>
            <pc:sldMk cId="1304839731" sldId="1179"/>
            <ac:cxnSpMk id="28" creationId="{9307DEF8-454D-3718-D509-7540BEA55B31}"/>
          </ac:cxnSpMkLst>
        </pc:cxnChg>
      </pc:sldChg>
      <pc:sldChg chg="modSp add mod ord modNotesTx">
        <pc:chgData name="Devraj, Keerthi (DI SW ICS ICV OS)" userId="a61e6969-d85e-42d5-913e-c7fe6fb96353" providerId="ADAL" clId="{72AD7523-10E7-45E1-AEB1-543283E64569}" dt="2023-04-04T08:12:48.839" v="2226" actId="20577"/>
        <pc:sldMkLst>
          <pc:docMk/>
          <pc:sldMk cId="4190908473" sldId="1180"/>
        </pc:sldMkLst>
        <pc:spChg chg="mod">
          <ac:chgData name="Devraj, Keerthi (DI SW ICS ICV OS)" userId="a61e6969-d85e-42d5-913e-c7fe6fb96353" providerId="ADAL" clId="{72AD7523-10E7-45E1-AEB1-543283E64569}" dt="2023-04-04T07:41:26.421" v="1217" actId="1076"/>
          <ac:spMkLst>
            <pc:docMk/>
            <pc:sldMk cId="4190908473" sldId="1180"/>
            <ac:spMk id="5" creationId="{FC1BFDAB-B555-1F88-4443-0A766C15A52F}"/>
          </ac:spMkLst>
        </pc:spChg>
      </pc:sldChg>
      <pc:sldChg chg="addSp delSp modSp add mod modNotesTx">
        <pc:chgData name="Devraj, Keerthi (DI SW ICS ICV OS)" userId="a61e6969-d85e-42d5-913e-c7fe6fb96353" providerId="ADAL" clId="{72AD7523-10E7-45E1-AEB1-543283E64569}" dt="2023-04-04T09:15:30.277" v="5068" actId="20577"/>
        <pc:sldMkLst>
          <pc:docMk/>
          <pc:sldMk cId="1195655732" sldId="1181"/>
        </pc:sldMkLst>
        <pc:spChg chg="add mod">
          <ac:chgData name="Devraj, Keerthi (DI SW ICS ICV OS)" userId="a61e6969-d85e-42d5-913e-c7fe6fb96353" providerId="ADAL" clId="{72AD7523-10E7-45E1-AEB1-543283E64569}" dt="2023-04-04T09:07:52.573" v="4323" actId="20577"/>
          <ac:spMkLst>
            <pc:docMk/>
            <pc:sldMk cId="1195655732" sldId="1181"/>
            <ac:spMk id="4" creationId="{73CDA273-B597-C051-822A-180DCD8AB330}"/>
          </ac:spMkLst>
        </pc:spChg>
        <pc:spChg chg="del">
          <ac:chgData name="Devraj, Keerthi (DI SW ICS ICV OS)" userId="a61e6969-d85e-42d5-913e-c7fe6fb96353" providerId="ADAL" clId="{72AD7523-10E7-45E1-AEB1-543283E64569}" dt="2023-04-04T00:41:33.497" v="552" actId="478"/>
          <ac:spMkLst>
            <pc:docMk/>
            <pc:sldMk cId="1195655732" sldId="1181"/>
            <ac:spMk id="5" creationId="{FC1BFDAB-B555-1F88-4443-0A766C15A52F}"/>
          </ac:spMkLst>
        </pc:spChg>
      </pc:sldChg>
      <pc:sldChg chg="modSp add mod">
        <pc:chgData name="Devraj, Keerthi (DI SW ICS ICV OS)" userId="a61e6969-d85e-42d5-913e-c7fe6fb96353" providerId="ADAL" clId="{72AD7523-10E7-45E1-AEB1-543283E64569}" dt="2023-04-05T11:40:31.130" v="5512" actId="20577"/>
        <pc:sldMkLst>
          <pc:docMk/>
          <pc:sldMk cId="1111172763" sldId="1182"/>
        </pc:sldMkLst>
        <pc:spChg chg="mod">
          <ac:chgData name="Devraj, Keerthi (DI SW ICS ICV OS)" userId="a61e6969-d85e-42d5-913e-c7fe6fb96353" providerId="ADAL" clId="{72AD7523-10E7-45E1-AEB1-543283E64569}" dt="2023-04-04T09:18:11.992" v="5074" actId="20577"/>
          <ac:spMkLst>
            <pc:docMk/>
            <pc:sldMk cId="1111172763" sldId="1182"/>
            <ac:spMk id="2" creationId="{4DE4C822-5737-A56E-B0DD-965DB7754D69}"/>
          </ac:spMkLst>
        </pc:spChg>
        <pc:spChg chg="mod">
          <ac:chgData name="Devraj, Keerthi (DI SW ICS ICV OS)" userId="a61e6969-d85e-42d5-913e-c7fe6fb96353" providerId="ADAL" clId="{72AD7523-10E7-45E1-AEB1-543283E64569}" dt="2023-04-05T11:40:31.130" v="5512" actId="20577"/>
          <ac:spMkLst>
            <pc:docMk/>
            <pc:sldMk cId="1111172763" sldId="1182"/>
            <ac:spMk id="4" creationId="{73CDA273-B597-C051-822A-180DCD8AB330}"/>
          </ac:spMkLst>
        </pc:spChg>
      </pc:sldChg>
    </pc:docChg>
  </pc:docChgLst>
  <pc:docChgLst>
    <pc:chgData name="Devraj, Keerthi (DI SW ICS ICV OS)" userId="a61e6969-d85e-42d5-913e-c7fe6fb96353" providerId="ADAL" clId="{B578289B-E138-430A-B5D9-97B98854BDF7}"/>
    <pc:docChg chg="undo custSel addSld delSld modSld">
      <pc:chgData name="Devraj, Keerthi (DI SW ICS ICV OS)" userId="a61e6969-d85e-42d5-913e-c7fe6fb96353" providerId="ADAL" clId="{B578289B-E138-430A-B5D9-97B98854BDF7}" dt="2023-03-07T16:46:57.023" v="4428" actId="6549"/>
      <pc:docMkLst>
        <pc:docMk/>
      </pc:docMkLst>
      <pc:sldChg chg="modSp del mod">
        <pc:chgData name="Devraj, Keerthi (DI SW ICS ICV OS)" userId="a61e6969-d85e-42d5-913e-c7fe6fb96353" providerId="ADAL" clId="{B578289B-E138-430A-B5D9-97B98854BDF7}" dt="2023-03-07T05:16:40.991" v="869" actId="47"/>
        <pc:sldMkLst>
          <pc:docMk/>
          <pc:sldMk cId="3120581012" sldId="480"/>
        </pc:sldMkLst>
        <pc:graphicFrameChg chg="modGraphic">
          <ac:chgData name="Devraj, Keerthi (DI SW ICS ICV OS)" userId="a61e6969-d85e-42d5-913e-c7fe6fb96353" providerId="ADAL" clId="{B578289B-E138-430A-B5D9-97B98854BDF7}" dt="2023-03-06T14:43:50.377" v="310" actId="20577"/>
          <ac:graphicFrameMkLst>
            <pc:docMk/>
            <pc:sldMk cId="3120581012" sldId="480"/>
            <ac:graphicFrameMk id="9" creationId="{C8984AF6-52F3-434C-398D-45C118BA864A}"/>
          </ac:graphicFrameMkLst>
        </pc:graphicFrameChg>
      </pc:sldChg>
      <pc:sldChg chg="addSp delSp modSp mod modNotesTx">
        <pc:chgData name="Devraj, Keerthi (DI SW ICS ICV OS)" userId="a61e6969-d85e-42d5-913e-c7fe6fb96353" providerId="ADAL" clId="{B578289B-E138-430A-B5D9-97B98854BDF7}" dt="2023-03-07T15:59:27.876" v="4410" actId="20577"/>
        <pc:sldMkLst>
          <pc:docMk/>
          <pc:sldMk cId="3619007553" sldId="481"/>
        </pc:sldMkLst>
        <pc:spChg chg="mod">
          <ac:chgData name="Devraj, Keerthi (DI SW ICS ICV OS)" userId="a61e6969-d85e-42d5-913e-c7fe6fb96353" providerId="ADAL" clId="{B578289B-E138-430A-B5D9-97B98854BDF7}" dt="2023-03-07T14:41:19.958" v="2926" actId="20577"/>
          <ac:spMkLst>
            <pc:docMk/>
            <pc:sldMk cId="3619007553" sldId="481"/>
            <ac:spMk id="2" creationId="{C55C16BD-EA5C-4958-A62D-34A6BDF7811B}"/>
          </ac:spMkLst>
        </pc:spChg>
        <pc:spChg chg="add del mod">
          <ac:chgData name="Devraj, Keerthi (DI SW ICS ICV OS)" userId="a61e6969-d85e-42d5-913e-c7fe6fb96353" providerId="ADAL" clId="{B578289B-E138-430A-B5D9-97B98854BDF7}" dt="2023-03-07T15:26:37.553" v="4053" actId="478"/>
          <ac:spMkLst>
            <pc:docMk/>
            <pc:sldMk cId="3619007553" sldId="481"/>
            <ac:spMk id="4" creationId="{1D70F9D5-40C2-DE11-DE52-95490677D3E5}"/>
          </ac:spMkLst>
        </pc:spChg>
        <pc:spChg chg="mod">
          <ac:chgData name="Devraj, Keerthi (DI SW ICS ICV OS)" userId="a61e6969-d85e-42d5-913e-c7fe6fb96353" providerId="ADAL" clId="{B578289B-E138-430A-B5D9-97B98854BDF7}" dt="2023-03-07T14:40:33.783" v="2922" actId="20577"/>
          <ac:spMkLst>
            <pc:docMk/>
            <pc:sldMk cId="3619007553" sldId="481"/>
            <ac:spMk id="5" creationId="{2790C287-9B4B-D138-0F4C-09B1DB58E3A2}"/>
          </ac:spMkLst>
        </pc:spChg>
      </pc:sldChg>
      <pc:sldChg chg="modSp mod modNotesTx">
        <pc:chgData name="Devraj, Keerthi (DI SW ICS ICV OS)" userId="a61e6969-d85e-42d5-913e-c7fe6fb96353" providerId="ADAL" clId="{B578289B-E138-430A-B5D9-97B98854BDF7}" dt="2023-03-07T15:58:55.797" v="4394" actId="20577"/>
        <pc:sldMkLst>
          <pc:docMk/>
          <pc:sldMk cId="2752120086" sldId="482"/>
        </pc:sldMkLst>
        <pc:spChg chg="mod">
          <ac:chgData name="Devraj, Keerthi (DI SW ICS ICV OS)" userId="a61e6969-d85e-42d5-913e-c7fe6fb96353" providerId="ADAL" clId="{B578289B-E138-430A-B5D9-97B98854BDF7}" dt="2023-03-07T14:41:23.260" v="2928" actId="20577"/>
          <ac:spMkLst>
            <pc:docMk/>
            <pc:sldMk cId="2752120086" sldId="482"/>
            <ac:spMk id="2" creationId="{C55C16BD-EA5C-4958-A62D-34A6BDF7811B}"/>
          </ac:spMkLst>
        </pc:spChg>
        <pc:spChg chg="mod">
          <ac:chgData name="Devraj, Keerthi (DI SW ICS ICV OS)" userId="a61e6969-d85e-42d5-913e-c7fe6fb96353" providerId="ADAL" clId="{B578289B-E138-430A-B5D9-97B98854BDF7}" dt="2023-03-07T15:58:37.909" v="4352" actId="20577"/>
          <ac:spMkLst>
            <pc:docMk/>
            <pc:sldMk cId="2752120086" sldId="482"/>
            <ac:spMk id="5" creationId="{2790C287-9B4B-D138-0F4C-09B1DB58E3A2}"/>
          </ac:spMkLst>
        </pc:spChg>
      </pc:sldChg>
      <pc:sldChg chg="addSp delSp modSp mod modNotesTx">
        <pc:chgData name="Devraj, Keerthi (DI SW ICS ICV OS)" userId="a61e6969-d85e-42d5-913e-c7fe6fb96353" providerId="ADAL" clId="{B578289B-E138-430A-B5D9-97B98854BDF7}" dt="2023-03-07T15:52:04.897" v="4164" actId="313"/>
        <pc:sldMkLst>
          <pc:docMk/>
          <pc:sldMk cId="1977688736" sldId="1173"/>
        </pc:sldMkLst>
        <pc:spChg chg="mod">
          <ac:chgData name="Devraj, Keerthi (DI SW ICS ICV OS)" userId="a61e6969-d85e-42d5-913e-c7fe6fb96353" providerId="ADAL" clId="{B578289B-E138-430A-B5D9-97B98854BDF7}" dt="2023-03-07T14:41:16.567" v="2924" actId="20577"/>
          <ac:spMkLst>
            <pc:docMk/>
            <pc:sldMk cId="1977688736" sldId="1173"/>
            <ac:spMk id="2" creationId="{C55C16BD-EA5C-4958-A62D-34A6BDF7811B}"/>
          </ac:spMkLst>
        </pc:spChg>
        <pc:spChg chg="add del mod">
          <ac:chgData name="Devraj, Keerthi (DI SW ICS ICV OS)" userId="a61e6969-d85e-42d5-913e-c7fe6fb96353" providerId="ADAL" clId="{B578289B-E138-430A-B5D9-97B98854BDF7}" dt="2023-03-07T15:26:34.411" v="4052"/>
          <ac:spMkLst>
            <pc:docMk/>
            <pc:sldMk cId="1977688736" sldId="1173"/>
            <ac:spMk id="5" creationId="{EAD30B16-5E71-4C12-AF35-65105A73F79A}"/>
          </ac:spMkLst>
        </pc:spChg>
        <pc:spChg chg="mod">
          <ac:chgData name="Devraj, Keerthi (DI SW ICS ICV OS)" userId="a61e6969-d85e-42d5-913e-c7fe6fb96353" providerId="ADAL" clId="{B578289B-E138-430A-B5D9-97B98854BDF7}" dt="2023-03-07T12:29:33.386" v="2837" actId="14100"/>
          <ac:spMkLst>
            <pc:docMk/>
            <pc:sldMk cId="1977688736" sldId="1173"/>
            <ac:spMk id="7" creationId="{0A303F43-A5E9-20E0-F730-889371318BC8}"/>
          </ac:spMkLst>
        </pc:spChg>
      </pc:sldChg>
      <pc:sldChg chg="addSp modSp new mod modNotesTx">
        <pc:chgData name="Devraj, Keerthi (DI SW ICS ICV OS)" userId="a61e6969-d85e-42d5-913e-c7fe6fb96353" providerId="ADAL" clId="{B578289B-E138-430A-B5D9-97B98854BDF7}" dt="2023-03-07T16:46:57.023" v="4428" actId="6549"/>
        <pc:sldMkLst>
          <pc:docMk/>
          <pc:sldMk cId="805770855" sldId="1174"/>
        </pc:sldMkLst>
        <pc:spChg chg="mod">
          <ac:chgData name="Devraj, Keerthi (DI SW ICS ICV OS)" userId="a61e6969-d85e-42d5-913e-c7fe6fb96353" providerId="ADAL" clId="{B578289B-E138-430A-B5D9-97B98854BDF7}" dt="2023-03-06T15:59:37.945" v="717" actId="20577"/>
          <ac:spMkLst>
            <pc:docMk/>
            <pc:sldMk cId="805770855" sldId="1174"/>
            <ac:spMk id="2" creationId="{E9547567-3FCB-1B1B-9295-ADD6544A9563}"/>
          </ac:spMkLst>
        </pc:spChg>
        <pc:graphicFrameChg chg="add mod modGraphic">
          <ac:chgData name="Devraj, Keerthi (DI SW ICS ICV OS)" userId="a61e6969-d85e-42d5-913e-c7fe6fb96353" providerId="ADAL" clId="{B578289B-E138-430A-B5D9-97B98854BDF7}" dt="2023-03-07T15:15:11.162" v="3131" actId="2165"/>
          <ac:graphicFrameMkLst>
            <pc:docMk/>
            <pc:sldMk cId="805770855" sldId="1174"/>
            <ac:graphicFrameMk id="4" creationId="{53314426-5CEF-B3C3-DEB4-2F9D25568E8F}"/>
          </ac:graphicFrameMkLst>
        </pc:graphicFrameChg>
      </pc:sldChg>
      <pc:sldChg chg="addSp delSp modSp add mod modNotesTx">
        <pc:chgData name="Devraj, Keerthi (DI SW ICS ICV OS)" userId="a61e6969-d85e-42d5-913e-c7fe6fb96353" providerId="ADAL" clId="{B578289B-E138-430A-B5D9-97B98854BDF7}" dt="2023-03-07T15:25:12.499" v="3940" actId="20577"/>
        <pc:sldMkLst>
          <pc:docMk/>
          <pc:sldMk cId="4142266071" sldId="1175"/>
        </pc:sldMkLst>
        <pc:spChg chg="mod">
          <ac:chgData name="Devraj, Keerthi (DI SW ICS ICV OS)" userId="a61e6969-d85e-42d5-913e-c7fe6fb96353" providerId="ADAL" clId="{B578289B-E138-430A-B5D9-97B98854BDF7}" dt="2023-03-06T15:55:58.777" v="627" actId="1076"/>
          <ac:spMkLst>
            <pc:docMk/>
            <pc:sldMk cId="4142266071" sldId="1175"/>
            <ac:spMk id="2" creationId="{E9547567-3FCB-1B1B-9295-ADD6544A9563}"/>
          </ac:spMkLst>
        </pc:spChg>
        <pc:graphicFrameChg chg="del">
          <ac:chgData name="Devraj, Keerthi (DI SW ICS ICV OS)" userId="a61e6969-d85e-42d5-913e-c7fe6fb96353" providerId="ADAL" clId="{B578289B-E138-430A-B5D9-97B98854BDF7}" dt="2023-03-06T15:51:20.224" v="582" actId="478"/>
          <ac:graphicFrameMkLst>
            <pc:docMk/>
            <pc:sldMk cId="4142266071" sldId="1175"/>
            <ac:graphicFrameMk id="4" creationId="{53314426-5CEF-B3C3-DEB4-2F9D25568E8F}"/>
          </ac:graphicFrameMkLst>
        </pc:graphicFrameChg>
        <pc:graphicFrameChg chg="add mod modGraphic">
          <ac:chgData name="Devraj, Keerthi (DI SW ICS ICV OS)" userId="a61e6969-d85e-42d5-913e-c7fe6fb96353" providerId="ADAL" clId="{B578289B-E138-430A-B5D9-97B98854BDF7}" dt="2023-03-07T05:09:03.065" v="752" actId="20577"/>
          <ac:graphicFrameMkLst>
            <pc:docMk/>
            <pc:sldMk cId="4142266071" sldId="1175"/>
            <ac:graphicFrameMk id="5" creationId="{1A7BF7CE-319A-A933-367A-714BC66FF4DA}"/>
          </ac:graphicFrameMkLst>
        </pc:graphicFrameChg>
      </pc:sldChg>
      <pc:sldChg chg="addSp delSp modSp add del mod">
        <pc:chgData name="Devraj, Keerthi (DI SW ICS ICV OS)" userId="a61e6969-d85e-42d5-913e-c7fe6fb96353" providerId="ADAL" clId="{B578289B-E138-430A-B5D9-97B98854BDF7}" dt="2023-03-07T05:15:36.722" v="797" actId="47"/>
        <pc:sldMkLst>
          <pc:docMk/>
          <pc:sldMk cId="1745407029" sldId="1176"/>
        </pc:sldMkLst>
        <pc:spChg chg="mod">
          <ac:chgData name="Devraj, Keerthi (DI SW ICS ICV OS)" userId="a61e6969-d85e-42d5-913e-c7fe6fb96353" providerId="ADAL" clId="{B578289B-E138-430A-B5D9-97B98854BDF7}" dt="2023-03-06T15:58:34.044" v="704" actId="20577"/>
          <ac:spMkLst>
            <pc:docMk/>
            <pc:sldMk cId="1745407029" sldId="1176"/>
            <ac:spMk id="2" creationId="{E9547567-3FCB-1B1B-9295-ADD6544A9563}"/>
          </ac:spMkLst>
        </pc:spChg>
        <pc:graphicFrameChg chg="add del mod">
          <ac:chgData name="Devraj, Keerthi (DI SW ICS ICV OS)" userId="a61e6969-d85e-42d5-913e-c7fe6fb96353" providerId="ADAL" clId="{B578289B-E138-430A-B5D9-97B98854BDF7}" dt="2023-03-06T15:59:00.368" v="709"/>
          <ac:graphicFrameMkLst>
            <pc:docMk/>
            <pc:sldMk cId="1745407029" sldId="1176"/>
            <ac:graphicFrameMk id="4" creationId="{AA9A4AD6-8CE9-6EFD-839B-A8D866A24AD5}"/>
          </ac:graphicFrameMkLst>
        </pc:graphicFrameChg>
        <pc:graphicFrameChg chg="del">
          <ac:chgData name="Devraj, Keerthi (DI SW ICS ICV OS)" userId="a61e6969-d85e-42d5-913e-c7fe6fb96353" providerId="ADAL" clId="{B578289B-E138-430A-B5D9-97B98854BDF7}" dt="2023-03-06T15:58:51.489" v="705" actId="478"/>
          <ac:graphicFrameMkLst>
            <pc:docMk/>
            <pc:sldMk cId="1745407029" sldId="1176"/>
            <ac:graphicFrameMk id="5" creationId="{1A7BF7CE-319A-A933-367A-714BC66FF4DA}"/>
          </ac:graphicFrameMkLst>
        </pc:graphicFrameChg>
        <pc:picChg chg="add mod">
          <ac:chgData name="Devraj, Keerthi (DI SW ICS ICV OS)" userId="a61e6969-d85e-42d5-913e-c7fe6fb96353" providerId="ADAL" clId="{B578289B-E138-430A-B5D9-97B98854BDF7}" dt="2023-03-06T15:59:21.874" v="711" actId="27614"/>
          <ac:picMkLst>
            <pc:docMk/>
            <pc:sldMk cId="1745407029" sldId="1176"/>
            <ac:picMk id="7" creationId="{FEE00CE2-4E14-9F75-8D79-6CAFEF287E8D}"/>
          </ac:picMkLst>
        </pc:picChg>
      </pc:sldChg>
      <pc:sldChg chg="addSp delSp modSp add mod">
        <pc:chgData name="Devraj, Keerthi (DI SW ICS ICV OS)" userId="a61e6969-d85e-42d5-913e-c7fe6fb96353" providerId="ADAL" clId="{B578289B-E138-430A-B5D9-97B98854BDF7}" dt="2023-03-07T07:38:20.272" v="1419" actId="1036"/>
        <pc:sldMkLst>
          <pc:docMk/>
          <pc:sldMk cId="2403468181" sldId="1177"/>
        </pc:sldMkLst>
        <pc:spChg chg="add mod">
          <ac:chgData name="Devraj, Keerthi (DI SW ICS ICV OS)" userId="a61e6969-d85e-42d5-913e-c7fe6fb96353" providerId="ADAL" clId="{B578289B-E138-430A-B5D9-97B98854BDF7}" dt="2023-03-07T05:13:54.023" v="782" actId="1076"/>
          <ac:spMkLst>
            <pc:docMk/>
            <pc:sldMk cId="2403468181" sldId="1177"/>
            <ac:spMk id="6" creationId="{E55EA56A-0E35-ED64-7892-B134A8378502}"/>
          </ac:spMkLst>
        </pc:spChg>
        <pc:spChg chg="add mod">
          <ac:chgData name="Devraj, Keerthi (DI SW ICS ICV OS)" userId="a61e6969-d85e-42d5-913e-c7fe6fb96353" providerId="ADAL" clId="{B578289B-E138-430A-B5D9-97B98854BDF7}" dt="2023-03-07T05:15:31.653" v="796" actId="1076"/>
          <ac:spMkLst>
            <pc:docMk/>
            <pc:sldMk cId="2403468181" sldId="1177"/>
            <ac:spMk id="10" creationId="{934D6B3C-C752-7941-1646-15163A0C6E2F}"/>
          </ac:spMkLst>
        </pc:spChg>
        <pc:graphicFrameChg chg="add mod modGraphic">
          <ac:chgData name="Devraj, Keerthi (DI SW ICS ICV OS)" userId="a61e6969-d85e-42d5-913e-c7fe6fb96353" providerId="ADAL" clId="{B578289B-E138-430A-B5D9-97B98854BDF7}" dt="2023-03-07T07:38:20.272" v="1419" actId="1036"/>
          <ac:graphicFrameMkLst>
            <pc:docMk/>
            <pc:sldMk cId="2403468181" sldId="1177"/>
            <ac:graphicFrameMk id="4" creationId="{13EA4E56-CCD4-E39B-9199-1992308509F4}"/>
          </ac:graphicFrameMkLst>
        </pc:graphicFrameChg>
        <pc:graphicFrameChg chg="add mod modGraphic">
          <ac:chgData name="Devraj, Keerthi (DI SW ICS ICV OS)" userId="a61e6969-d85e-42d5-913e-c7fe6fb96353" providerId="ADAL" clId="{B578289B-E138-430A-B5D9-97B98854BDF7}" dt="2023-03-07T05:15:14.193" v="792" actId="1076"/>
          <ac:graphicFrameMkLst>
            <pc:docMk/>
            <pc:sldMk cId="2403468181" sldId="1177"/>
            <ac:graphicFrameMk id="8" creationId="{5F113AB3-485F-D931-9B16-6C11848CFE45}"/>
          </ac:graphicFrameMkLst>
        </pc:graphicFrameChg>
        <pc:picChg chg="del">
          <ac:chgData name="Devraj, Keerthi (DI SW ICS ICV OS)" userId="a61e6969-d85e-42d5-913e-c7fe6fb96353" providerId="ADAL" clId="{B578289B-E138-430A-B5D9-97B98854BDF7}" dt="2023-03-07T05:10:18.173" v="754" actId="478"/>
          <ac:picMkLst>
            <pc:docMk/>
            <pc:sldMk cId="2403468181" sldId="1177"/>
            <ac:picMk id="7" creationId="{FEE00CE2-4E14-9F75-8D79-6CAFEF287E8D}"/>
          </ac:picMkLst>
        </pc:picChg>
      </pc:sldChg>
    </pc:docChg>
  </pc:docChgLst>
  <pc:docChgLst>
    <pc:chgData name="Devraj, Keerthi (DI SW ICS DVT CSF DV FS)" userId="a61e6969-d85e-42d5-913e-c7fe6fb96353" providerId="ADAL" clId="{8D2B4F8B-645F-482E-A867-56D9A41DB3EB}"/>
    <pc:docChg chg="undo redo custSel addSld delSld modSld sldOrd">
      <pc:chgData name="Devraj, Keerthi (DI SW ICS DVT CSF DV FS)" userId="a61e6969-d85e-42d5-913e-c7fe6fb96353" providerId="ADAL" clId="{8D2B4F8B-645F-482E-A867-56D9A41DB3EB}" dt="2023-12-13T13:57:12.663" v="2772" actId="164"/>
      <pc:docMkLst>
        <pc:docMk/>
      </pc:docMkLst>
      <pc:sldChg chg="del">
        <pc:chgData name="Devraj, Keerthi (DI SW ICS DVT CSF DV FS)" userId="a61e6969-d85e-42d5-913e-c7fe6fb96353" providerId="ADAL" clId="{8D2B4F8B-645F-482E-A867-56D9A41DB3EB}" dt="2023-11-15T09:02:29.631" v="632" actId="47"/>
        <pc:sldMkLst>
          <pc:docMk/>
          <pc:sldMk cId="3044083358" sldId="268"/>
        </pc:sldMkLst>
      </pc:sldChg>
      <pc:sldChg chg="modSp mod">
        <pc:chgData name="Devraj, Keerthi (DI SW ICS DVT CSF DV FS)" userId="a61e6969-d85e-42d5-913e-c7fe6fb96353" providerId="ADAL" clId="{8D2B4F8B-645F-482E-A867-56D9A41DB3EB}" dt="2023-11-15T08:53:39.272" v="481" actId="1076"/>
        <pc:sldMkLst>
          <pc:docMk/>
          <pc:sldMk cId="4047077203" sldId="453"/>
        </pc:sldMkLst>
        <pc:spChg chg="mod">
          <ac:chgData name="Devraj, Keerthi (DI SW ICS DVT CSF DV FS)" userId="a61e6969-d85e-42d5-913e-c7fe6fb96353" providerId="ADAL" clId="{8D2B4F8B-645F-482E-A867-56D9A41DB3EB}" dt="2023-11-15T08:53:24.807" v="477" actId="1076"/>
          <ac:spMkLst>
            <pc:docMk/>
            <pc:sldMk cId="4047077203" sldId="453"/>
            <ac:spMk id="2" creationId="{3787DCDB-E649-4D88-9AEB-9F963E4B6158}"/>
          </ac:spMkLst>
        </pc:spChg>
        <pc:spChg chg="mod">
          <ac:chgData name="Devraj, Keerthi (DI SW ICS DVT CSF DV FS)" userId="a61e6969-d85e-42d5-913e-c7fe6fb96353" providerId="ADAL" clId="{8D2B4F8B-645F-482E-A867-56D9A41DB3EB}" dt="2023-11-15T08:53:39.272" v="481" actId="1076"/>
          <ac:spMkLst>
            <pc:docMk/>
            <pc:sldMk cId="4047077203" sldId="453"/>
            <ac:spMk id="3" creationId="{898CE0F1-5315-4EE2-B93D-C6DDDC77C5CC}"/>
          </ac:spMkLst>
        </pc:spChg>
      </pc:sldChg>
      <pc:sldChg chg="del">
        <pc:chgData name="Devraj, Keerthi (DI SW ICS DVT CSF DV FS)" userId="a61e6969-d85e-42d5-913e-c7fe6fb96353" providerId="ADAL" clId="{8D2B4F8B-645F-482E-A867-56D9A41DB3EB}" dt="2023-11-15T09:04:34.126" v="736" actId="47"/>
        <pc:sldMkLst>
          <pc:docMk/>
          <pc:sldMk cId="4226669685" sldId="1174"/>
        </pc:sldMkLst>
      </pc:sldChg>
      <pc:sldChg chg="del">
        <pc:chgData name="Devraj, Keerthi (DI SW ICS DVT CSF DV FS)" userId="a61e6969-d85e-42d5-913e-c7fe6fb96353" providerId="ADAL" clId="{8D2B4F8B-645F-482E-A867-56D9A41DB3EB}" dt="2023-11-15T09:04:34.126" v="736" actId="47"/>
        <pc:sldMkLst>
          <pc:docMk/>
          <pc:sldMk cId="2941114977" sldId="1175"/>
        </pc:sldMkLst>
      </pc:sldChg>
      <pc:sldChg chg="del">
        <pc:chgData name="Devraj, Keerthi (DI SW ICS DVT CSF DV FS)" userId="a61e6969-d85e-42d5-913e-c7fe6fb96353" providerId="ADAL" clId="{8D2B4F8B-645F-482E-A867-56D9A41DB3EB}" dt="2023-11-15T09:04:34.126" v="736" actId="47"/>
        <pc:sldMkLst>
          <pc:docMk/>
          <pc:sldMk cId="2968691683" sldId="1177"/>
        </pc:sldMkLst>
      </pc:sldChg>
      <pc:sldChg chg="del">
        <pc:chgData name="Devraj, Keerthi (DI SW ICS DVT CSF DV FS)" userId="a61e6969-d85e-42d5-913e-c7fe6fb96353" providerId="ADAL" clId="{8D2B4F8B-645F-482E-A867-56D9A41DB3EB}" dt="2023-11-15T09:04:34.126" v="736" actId="47"/>
        <pc:sldMkLst>
          <pc:docMk/>
          <pc:sldMk cId="1381069072" sldId="1178"/>
        </pc:sldMkLst>
      </pc:sldChg>
      <pc:sldChg chg="del">
        <pc:chgData name="Devraj, Keerthi (DI SW ICS DVT CSF DV FS)" userId="a61e6969-d85e-42d5-913e-c7fe6fb96353" providerId="ADAL" clId="{8D2B4F8B-645F-482E-A867-56D9A41DB3EB}" dt="2023-11-15T09:04:22.870" v="735" actId="2696"/>
        <pc:sldMkLst>
          <pc:docMk/>
          <pc:sldMk cId="1304839731" sldId="1179"/>
        </pc:sldMkLst>
      </pc:sldChg>
      <pc:sldChg chg="del">
        <pc:chgData name="Devraj, Keerthi (DI SW ICS DVT CSF DV FS)" userId="a61e6969-d85e-42d5-913e-c7fe6fb96353" providerId="ADAL" clId="{8D2B4F8B-645F-482E-A867-56D9A41DB3EB}" dt="2023-11-15T09:04:22.870" v="735" actId="2696"/>
        <pc:sldMkLst>
          <pc:docMk/>
          <pc:sldMk cId="4190908473" sldId="1180"/>
        </pc:sldMkLst>
      </pc:sldChg>
      <pc:sldChg chg="del">
        <pc:chgData name="Devraj, Keerthi (DI SW ICS DVT CSF DV FS)" userId="a61e6969-d85e-42d5-913e-c7fe6fb96353" providerId="ADAL" clId="{8D2B4F8B-645F-482E-A867-56D9A41DB3EB}" dt="2023-11-15T09:04:22.870" v="735" actId="2696"/>
        <pc:sldMkLst>
          <pc:docMk/>
          <pc:sldMk cId="1195655732" sldId="1181"/>
        </pc:sldMkLst>
      </pc:sldChg>
      <pc:sldChg chg="del">
        <pc:chgData name="Devraj, Keerthi (DI SW ICS DVT CSF DV FS)" userId="a61e6969-d85e-42d5-913e-c7fe6fb96353" providerId="ADAL" clId="{8D2B4F8B-645F-482E-A867-56D9A41DB3EB}" dt="2023-11-15T09:04:22.870" v="735" actId="2696"/>
        <pc:sldMkLst>
          <pc:docMk/>
          <pc:sldMk cId="1111172763" sldId="1182"/>
        </pc:sldMkLst>
      </pc:sldChg>
      <pc:sldChg chg="addSp delSp modSp new mod">
        <pc:chgData name="Devraj, Keerthi (DI SW ICS DVT CSF DV FS)" userId="a61e6969-d85e-42d5-913e-c7fe6fb96353" providerId="ADAL" clId="{8D2B4F8B-645F-482E-A867-56D9A41DB3EB}" dt="2023-11-15T08:47:03.818" v="183" actId="207"/>
        <pc:sldMkLst>
          <pc:docMk/>
          <pc:sldMk cId="2676453727" sldId="1183"/>
        </pc:sldMkLst>
        <pc:spChg chg="del">
          <ac:chgData name="Devraj, Keerthi (DI SW ICS DVT CSF DV FS)" userId="a61e6969-d85e-42d5-913e-c7fe6fb96353" providerId="ADAL" clId="{8D2B4F8B-645F-482E-A867-56D9A41DB3EB}" dt="2023-11-15T08:43:53.560" v="92"/>
          <ac:spMkLst>
            <pc:docMk/>
            <pc:sldMk cId="2676453727" sldId="1183"/>
            <ac:spMk id="2" creationId="{8CC646BC-DE6A-9230-0961-5F78ABE80BD4}"/>
          </ac:spMkLst>
        </pc:spChg>
        <pc:spChg chg="add mod">
          <ac:chgData name="Devraj, Keerthi (DI SW ICS DVT CSF DV FS)" userId="a61e6969-d85e-42d5-913e-c7fe6fb96353" providerId="ADAL" clId="{8D2B4F8B-645F-482E-A867-56D9A41DB3EB}" dt="2023-11-15T08:47:03.818" v="183" actId="207"/>
          <ac:spMkLst>
            <pc:docMk/>
            <pc:sldMk cId="2676453727" sldId="1183"/>
            <ac:spMk id="4" creationId="{7DA4E904-AECC-445E-9127-61A0F96355D6}"/>
          </ac:spMkLst>
        </pc:spChg>
        <pc:spChg chg="add mod">
          <ac:chgData name="Devraj, Keerthi (DI SW ICS DVT CSF DV FS)" userId="a61e6969-d85e-42d5-913e-c7fe6fb96353" providerId="ADAL" clId="{8D2B4F8B-645F-482E-A867-56D9A41DB3EB}" dt="2023-11-15T08:44:03.299" v="93"/>
          <ac:spMkLst>
            <pc:docMk/>
            <pc:sldMk cId="2676453727" sldId="1183"/>
            <ac:spMk id="6" creationId="{D202B1CB-DB79-05A2-1B49-2E4CF724FA87}"/>
          </ac:spMkLst>
        </pc:spChg>
        <pc:spChg chg="add mod">
          <ac:chgData name="Devraj, Keerthi (DI SW ICS DVT CSF DV FS)" userId="a61e6969-d85e-42d5-913e-c7fe6fb96353" providerId="ADAL" clId="{8D2B4F8B-645F-482E-A867-56D9A41DB3EB}" dt="2023-11-15T08:44:03.299" v="93"/>
          <ac:spMkLst>
            <pc:docMk/>
            <pc:sldMk cId="2676453727" sldId="1183"/>
            <ac:spMk id="7" creationId="{AB8058A1-E445-DF8E-06DA-76A55D26F195}"/>
          </ac:spMkLst>
        </pc:spChg>
        <pc:spChg chg="mod">
          <ac:chgData name="Devraj, Keerthi (DI SW ICS DVT CSF DV FS)" userId="a61e6969-d85e-42d5-913e-c7fe6fb96353" providerId="ADAL" clId="{8D2B4F8B-645F-482E-A867-56D9A41DB3EB}" dt="2023-11-15T08:44:03.299" v="93"/>
          <ac:spMkLst>
            <pc:docMk/>
            <pc:sldMk cId="2676453727" sldId="1183"/>
            <ac:spMk id="9" creationId="{37BE74AB-F22D-DD5D-3CD5-8D4083B1F1DB}"/>
          </ac:spMkLst>
        </pc:spChg>
        <pc:spChg chg="add mod">
          <ac:chgData name="Devraj, Keerthi (DI SW ICS DVT CSF DV FS)" userId="a61e6969-d85e-42d5-913e-c7fe6fb96353" providerId="ADAL" clId="{8D2B4F8B-645F-482E-A867-56D9A41DB3EB}" dt="2023-11-15T08:44:03.299" v="93"/>
          <ac:spMkLst>
            <pc:docMk/>
            <pc:sldMk cId="2676453727" sldId="1183"/>
            <ac:spMk id="11" creationId="{68C5A08C-09F3-6660-0B75-F5C5E07D2A17}"/>
          </ac:spMkLst>
        </pc:spChg>
        <pc:spChg chg="mod">
          <ac:chgData name="Devraj, Keerthi (DI SW ICS DVT CSF DV FS)" userId="a61e6969-d85e-42d5-913e-c7fe6fb96353" providerId="ADAL" clId="{8D2B4F8B-645F-482E-A867-56D9A41DB3EB}" dt="2023-11-15T08:44:03.299" v="93"/>
          <ac:spMkLst>
            <pc:docMk/>
            <pc:sldMk cId="2676453727" sldId="1183"/>
            <ac:spMk id="13" creationId="{84AACB5F-E815-9D96-BDBA-91A81305B7AC}"/>
          </ac:spMkLst>
        </pc:spChg>
        <pc:spChg chg="add mod">
          <ac:chgData name="Devraj, Keerthi (DI SW ICS DVT CSF DV FS)" userId="a61e6969-d85e-42d5-913e-c7fe6fb96353" providerId="ADAL" clId="{8D2B4F8B-645F-482E-A867-56D9A41DB3EB}" dt="2023-11-15T08:44:03.299" v="93"/>
          <ac:spMkLst>
            <pc:docMk/>
            <pc:sldMk cId="2676453727" sldId="1183"/>
            <ac:spMk id="15" creationId="{A4ADA027-20A8-E88D-1154-090375E7FF3D}"/>
          </ac:spMkLst>
        </pc:spChg>
        <pc:spChg chg="mod">
          <ac:chgData name="Devraj, Keerthi (DI SW ICS DVT CSF DV FS)" userId="a61e6969-d85e-42d5-913e-c7fe6fb96353" providerId="ADAL" clId="{8D2B4F8B-645F-482E-A867-56D9A41DB3EB}" dt="2023-11-15T08:44:03.299" v="93"/>
          <ac:spMkLst>
            <pc:docMk/>
            <pc:sldMk cId="2676453727" sldId="1183"/>
            <ac:spMk id="19" creationId="{5FB19333-1389-04FE-771F-C418D3110B10}"/>
          </ac:spMkLst>
        </pc:spChg>
        <pc:spChg chg="mod">
          <ac:chgData name="Devraj, Keerthi (DI SW ICS DVT CSF DV FS)" userId="a61e6969-d85e-42d5-913e-c7fe6fb96353" providerId="ADAL" clId="{8D2B4F8B-645F-482E-A867-56D9A41DB3EB}" dt="2023-11-15T08:44:03.299" v="93"/>
          <ac:spMkLst>
            <pc:docMk/>
            <pc:sldMk cId="2676453727" sldId="1183"/>
            <ac:spMk id="24" creationId="{7F87B7CD-93CD-2709-93C2-9B163D63DCC1}"/>
          </ac:spMkLst>
        </pc:spChg>
        <pc:grpChg chg="add mod">
          <ac:chgData name="Devraj, Keerthi (DI SW ICS DVT CSF DV FS)" userId="a61e6969-d85e-42d5-913e-c7fe6fb96353" providerId="ADAL" clId="{8D2B4F8B-645F-482E-A867-56D9A41DB3EB}" dt="2023-11-15T08:44:03.299" v="93"/>
          <ac:grpSpMkLst>
            <pc:docMk/>
            <pc:sldMk cId="2676453727" sldId="1183"/>
            <ac:grpSpMk id="8" creationId="{DDA8237F-662E-5CC7-1DBD-4C4BC52195E8}"/>
          </ac:grpSpMkLst>
        </pc:grpChg>
        <pc:grpChg chg="add mod">
          <ac:chgData name="Devraj, Keerthi (DI SW ICS DVT CSF DV FS)" userId="a61e6969-d85e-42d5-913e-c7fe6fb96353" providerId="ADAL" clId="{8D2B4F8B-645F-482E-A867-56D9A41DB3EB}" dt="2023-11-15T08:44:03.299" v="93"/>
          <ac:grpSpMkLst>
            <pc:docMk/>
            <pc:sldMk cId="2676453727" sldId="1183"/>
            <ac:grpSpMk id="12" creationId="{4BF64EF2-A6CC-C3B3-148E-9DE84955034F}"/>
          </ac:grpSpMkLst>
        </pc:grpChg>
        <pc:grpChg chg="add mod">
          <ac:chgData name="Devraj, Keerthi (DI SW ICS DVT CSF DV FS)" userId="a61e6969-d85e-42d5-913e-c7fe6fb96353" providerId="ADAL" clId="{8D2B4F8B-645F-482E-A867-56D9A41DB3EB}" dt="2023-11-15T08:44:03.299" v="93"/>
          <ac:grpSpMkLst>
            <pc:docMk/>
            <pc:sldMk cId="2676453727" sldId="1183"/>
            <ac:grpSpMk id="16" creationId="{4379ED54-5DE2-119D-AFED-239773C91644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8:44:03.299" v="93"/>
          <ac:grpSpMkLst>
            <pc:docMk/>
            <pc:sldMk cId="2676453727" sldId="1183"/>
            <ac:grpSpMk id="17" creationId="{0E51D9E2-6188-BB49-C879-5F6FBEE827DC}"/>
          </ac:grpSpMkLst>
        </pc:grpChg>
        <pc:grpChg chg="add mod">
          <ac:chgData name="Devraj, Keerthi (DI SW ICS DVT CSF DV FS)" userId="a61e6969-d85e-42d5-913e-c7fe6fb96353" providerId="ADAL" clId="{8D2B4F8B-645F-482E-A867-56D9A41DB3EB}" dt="2023-11-15T08:44:03.299" v="93"/>
          <ac:grpSpMkLst>
            <pc:docMk/>
            <pc:sldMk cId="2676453727" sldId="1183"/>
            <ac:grpSpMk id="21" creationId="{31802C36-0F9B-9D9B-4CCF-631151BA75FD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8:44:03.299" v="93"/>
          <ac:grpSpMkLst>
            <pc:docMk/>
            <pc:sldMk cId="2676453727" sldId="1183"/>
            <ac:grpSpMk id="22" creationId="{3DDD0799-CD6E-5AA2-14C1-8F56943F4A63}"/>
          </ac:grpSpMkLst>
        </pc:grpChg>
        <pc:picChg chg="add mod">
          <ac:chgData name="Devraj, Keerthi (DI SW ICS DVT CSF DV FS)" userId="a61e6969-d85e-42d5-913e-c7fe6fb96353" providerId="ADAL" clId="{8D2B4F8B-645F-482E-A867-56D9A41DB3EB}" dt="2023-11-15T08:44:38.631" v="136" actId="29295"/>
          <ac:picMkLst>
            <pc:docMk/>
            <pc:sldMk cId="2676453727" sldId="1183"/>
            <ac:picMk id="5" creationId="{C925BF28-5BB3-0A2A-EF86-1647E1FCEFAA}"/>
          </ac:picMkLst>
        </pc:picChg>
        <pc:picChg chg="add mod">
          <ac:chgData name="Devraj, Keerthi (DI SW ICS DVT CSF DV FS)" userId="a61e6969-d85e-42d5-913e-c7fe6fb96353" providerId="ADAL" clId="{8D2B4F8B-645F-482E-A867-56D9A41DB3EB}" dt="2023-11-15T08:44:47.963" v="159" actId="29295"/>
          <ac:picMkLst>
            <pc:docMk/>
            <pc:sldMk cId="2676453727" sldId="1183"/>
            <ac:picMk id="26" creationId="{25C46501-B011-3413-3223-CC7EB6BD3970}"/>
          </ac:picMkLst>
        </pc:picChg>
        <pc:cxnChg chg="mod">
          <ac:chgData name="Devraj, Keerthi (DI SW ICS DVT CSF DV FS)" userId="a61e6969-d85e-42d5-913e-c7fe6fb96353" providerId="ADAL" clId="{8D2B4F8B-645F-482E-A867-56D9A41DB3EB}" dt="2023-11-15T08:44:03.299" v="93"/>
          <ac:cxnSpMkLst>
            <pc:docMk/>
            <pc:sldMk cId="2676453727" sldId="1183"/>
            <ac:cxnSpMk id="10" creationId="{CF9522B9-527B-73FE-EE8C-A4C222D2BCEE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8:44:03.299" v="93"/>
          <ac:cxnSpMkLst>
            <pc:docMk/>
            <pc:sldMk cId="2676453727" sldId="1183"/>
            <ac:cxnSpMk id="14" creationId="{9D503368-77AF-E818-C4AE-63D8106304A4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8:44:03.299" v="93"/>
          <ac:cxnSpMkLst>
            <pc:docMk/>
            <pc:sldMk cId="2676453727" sldId="1183"/>
            <ac:cxnSpMk id="18" creationId="{464689BB-2613-50FA-7F7D-B8C008F8EA27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8:44:03.299" v="93"/>
          <ac:cxnSpMkLst>
            <pc:docMk/>
            <pc:sldMk cId="2676453727" sldId="1183"/>
            <ac:cxnSpMk id="20" creationId="{BBBEBC26-E833-CFA3-8A1A-E11EFF15F1AA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8:44:03.299" v="93"/>
          <ac:cxnSpMkLst>
            <pc:docMk/>
            <pc:sldMk cId="2676453727" sldId="1183"/>
            <ac:cxnSpMk id="23" creationId="{5066A334-6EA6-23E3-0790-5054F78DAA0A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8:44:03.299" v="93"/>
          <ac:cxnSpMkLst>
            <pc:docMk/>
            <pc:sldMk cId="2676453727" sldId="1183"/>
            <ac:cxnSpMk id="25" creationId="{CB627C2A-7687-04C7-0BD7-7B48081A7098}"/>
          </ac:cxnSpMkLst>
        </pc:cxnChg>
      </pc:sldChg>
      <pc:sldChg chg="addSp delSp modSp new mod modNotesTx">
        <pc:chgData name="Devraj, Keerthi (DI SW ICS DVT CSF DV FS)" userId="a61e6969-d85e-42d5-913e-c7fe6fb96353" providerId="ADAL" clId="{8D2B4F8B-645F-482E-A867-56D9A41DB3EB}" dt="2023-11-15T09:16:35.748" v="935"/>
        <pc:sldMkLst>
          <pc:docMk/>
          <pc:sldMk cId="1523291668" sldId="1184"/>
        </pc:sldMkLst>
        <pc:spChg chg="mod">
          <ac:chgData name="Devraj, Keerthi (DI SW ICS DVT CSF DV FS)" userId="a61e6969-d85e-42d5-913e-c7fe6fb96353" providerId="ADAL" clId="{8D2B4F8B-645F-482E-A867-56D9A41DB3EB}" dt="2023-11-15T08:45:32.296" v="164" actId="255"/>
          <ac:spMkLst>
            <pc:docMk/>
            <pc:sldMk cId="1523291668" sldId="1184"/>
            <ac:spMk id="2" creationId="{BCFDC814-8F03-898A-B6E0-24DBD939DD3A}"/>
          </ac:spMkLst>
        </pc:spChg>
        <pc:spChg chg="add del mod">
          <ac:chgData name="Devraj, Keerthi (DI SW ICS DVT CSF DV FS)" userId="a61e6969-d85e-42d5-913e-c7fe6fb96353" providerId="ADAL" clId="{8D2B4F8B-645F-482E-A867-56D9A41DB3EB}" dt="2023-11-15T08:45:09.053" v="162"/>
          <ac:spMkLst>
            <pc:docMk/>
            <pc:sldMk cId="1523291668" sldId="1184"/>
            <ac:spMk id="5" creationId="{733999A9-7B26-21AC-AED3-991A0C1478E2}"/>
          </ac:spMkLst>
        </pc:spChg>
        <pc:spChg chg="add del mod">
          <ac:chgData name="Devraj, Keerthi (DI SW ICS DVT CSF DV FS)" userId="a61e6969-d85e-42d5-913e-c7fe6fb96353" providerId="ADAL" clId="{8D2B4F8B-645F-482E-A867-56D9A41DB3EB}" dt="2023-11-15T08:45:09.053" v="162"/>
          <ac:spMkLst>
            <pc:docMk/>
            <pc:sldMk cId="1523291668" sldId="1184"/>
            <ac:spMk id="6" creationId="{A43626B2-A730-8F9C-9FF3-8AA73FF0B4C3}"/>
          </ac:spMkLst>
        </pc:spChg>
        <pc:spChg chg="mod">
          <ac:chgData name="Devraj, Keerthi (DI SW ICS DVT CSF DV FS)" userId="a61e6969-d85e-42d5-913e-c7fe6fb96353" providerId="ADAL" clId="{8D2B4F8B-645F-482E-A867-56D9A41DB3EB}" dt="2023-11-15T08:45:07.832" v="161"/>
          <ac:spMkLst>
            <pc:docMk/>
            <pc:sldMk cId="1523291668" sldId="1184"/>
            <ac:spMk id="8" creationId="{B89286B4-0E82-B270-397E-13D8849A67E0}"/>
          </ac:spMkLst>
        </pc:spChg>
        <pc:spChg chg="add del mod">
          <ac:chgData name="Devraj, Keerthi (DI SW ICS DVT CSF DV FS)" userId="a61e6969-d85e-42d5-913e-c7fe6fb96353" providerId="ADAL" clId="{8D2B4F8B-645F-482E-A867-56D9A41DB3EB}" dt="2023-11-15T08:45:09.053" v="162"/>
          <ac:spMkLst>
            <pc:docMk/>
            <pc:sldMk cId="1523291668" sldId="1184"/>
            <ac:spMk id="10" creationId="{1E6254B3-7969-399B-264B-8BB00B2A766F}"/>
          </ac:spMkLst>
        </pc:spChg>
        <pc:spChg chg="mod">
          <ac:chgData name="Devraj, Keerthi (DI SW ICS DVT CSF DV FS)" userId="a61e6969-d85e-42d5-913e-c7fe6fb96353" providerId="ADAL" clId="{8D2B4F8B-645F-482E-A867-56D9A41DB3EB}" dt="2023-11-15T08:45:07.832" v="161"/>
          <ac:spMkLst>
            <pc:docMk/>
            <pc:sldMk cId="1523291668" sldId="1184"/>
            <ac:spMk id="12" creationId="{CC3D0A11-B9B9-63D4-4578-8FE215B13775}"/>
          </ac:spMkLst>
        </pc:spChg>
        <pc:spChg chg="add del mod">
          <ac:chgData name="Devraj, Keerthi (DI SW ICS DVT CSF DV FS)" userId="a61e6969-d85e-42d5-913e-c7fe6fb96353" providerId="ADAL" clId="{8D2B4F8B-645F-482E-A867-56D9A41DB3EB}" dt="2023-11-15T08:45:09.053" v="162"/>
          <ac:spMkLst>
            <pc:docMk/>
            <pc:sldMk cId="1523291668" sldId="1184"/>
            <ac:spMk id="14" creationId="{93F7BE95-C53D-36FA-2C39-D3A6A641B2F9}"/>
          </ac:spMkLst>
        </pc:spChg>
        <pc:spChg chg="mod">
          <ac:chgData name="Devraj, Keerthi (DI SW ICS DVT CSF DV FS)" userId="a61e6969-d85e-42d5-913e-c7fe6fb96353" providerId="ADAL" clId="{8D2B4F8B-645F-482E-A867-56D9A41DB3EB}" dt="2023-11-15T08:45:07.832" v="161"/>
          <ac:spMkLst>
            <pc:docMk/>
            <pc:sldMk cId="1523291668" sldId="1184"/>
            <ac:spMk id="18" creationId="{0D82372D-389B-4C8B-9910-4849AA704665}"/>
          </ac:spMkLst>
        </pc:spChg>
        <pc:spChg chg="mod">
          <ac:chgData name="Devraj, Keerthi (DI SW ICS DVT CSF DV FS)" userId="a61e6969-d85e-42d5-913e-c7fe6fb96353" providerId="ADAL" clId="{8D2B4F8B-645F-482E-A867-56D9A41DB3EB}" dt="2023-11-15T08:45:07.832" v="161"/>
          <ac:spMkLst>
            <pc:docMk/>
            <pc:sldMk cId="1523291668" sldId="1184"/>
            <ac:spMk id="23" creationId="{4262A5F4-5444-43FF-9425-F938D82089E0}"/>
          </ac:spMkLst>
        </pc:spChg>
        <pc:spChg chg="add mod">
          <ac:chgData name="Devraj, Keerthi (DI SW ICS DVT CSF DV FS)" userId="a61e6969-d85e-42d5-913e-c7fe6fb96353" providerId="ADAL" clId="{8D2B4F8B-645F-482E-A867-56D9A41DB3EB}" dt="2023-11-15T08:45:42.292" v="165"/>
          <ac:spMkLst>
            <pc:docMk/>
            <pc:sldMk cId="1523291668" sldId="1184"/>
            <ac:spMk id="26" creationId="{0AAE61BE-CEDA-0631-3C1C-2DD5507C4C02}"/>
          </ac:spMkLst>
        </pc:spChg>
        <pc:spChg chg="add mod">
          <ac:chgData name="Devraj, Keerthi (DI SW ICS DVT CSF DV FS)" userId="a61e6969-d85e-42d5-913e-c7fe6fb96353" providerId="ADAL" clId="{8D2B4F8B-645F-482E-A867-56D9A41DB3EB}" dt="2023-11-15T08:45:42.292" v="165"/>
          <ac:spMkLst>
            <pc:docMk/>
            <pc:sldMk cId="1523291668" sldId="1184"/>
            <ac:spMk id="27" creationId="{37E89063-883D-6357-A5D1-A84FFA00927A}"/>
          </ac:spMkLst>
        </pc:spChg>
        <pc:spChg chg="add mod">
          <ac:chgData name="Devraj, Keerthi (DI SW ICS DVT CSF DV FS)" userId="a61e6969-d85e-42d5-913e-c7fe6fb96353" providerId="ADAL" clId="{8D2B4F8B-645F-482E-A867-56D9A41DB3EB}" dt="2023-11-15T08:45:42.292" v="165"/>
          <ac:spMkLst>
            <pc:docMk/>
            <pc:sldMk cId="1523291668" sldId="1184"/>
            <ac:spMk id="28" creationId="{AA1DA325-284F-1762-18CD-773B2449019C}"/>
          </ac:spMkLst>
        </pc:spChg>
        <pc:spChg chg="add mod">
          <ac:chgData name="Devraj, Keerthi (DI SW ICS DVT CSF DV FS)" userId="a61e6969-d85e-42d5-913e-c7fe6fb96353" providerId="ADAL" clId="{8D2B4F8B-645F-482E-A867-56D9A41DB3EB}" dt="2023-11-15T08:45:42.292" v="165"/>
          <ac:spMkLst>
            <pc:docMk/>
            <pc:sldMk cId="1523291668" sldId="1184"/>
            <ac:spMk id="29" creationId="{5CC852E7-2736-4F3A-4B0A-3B582796AB6D}"/>
          </ac:spMkLst>
        </pc:spChg>
        <pc:spChg chg="add mod">
          <ac:chgData name="Devraj, Keerthi (DI SW ICS DVT CSF DV FS)" userId="a61e6969-d85e-42d5-913e-c7fe6fb96353" providerId="ADAL" clId="{8D2B4F8B-645F-482E-A867-56D9A41DB3EB}" dt="2023-11-15T08:45:42.292" v="165"/>
          <ac:spMkLst>
            <pc:docMk/>
            <pc:sldMk cId="1523291668" sldId="1184"/>
            <ac:spMk id="34" creationId="{2E116874-59B8-575D-2026-02A7BD14A860}"/>
          </ac:spMkLst>
        </pc:spChg>
        <pc:spChg chg="add mod">
          <ac:chgData name="Devraj, Keerthi (DI SW ICS DVT CSF DV FS)" userId="a61e6969-d85e-42d5-913e-c7fe6fb96353" providerId="ADAL" clId="{8D2B4F8B-645F-482E-A867-56D9A41DB3EB}" dt="2023-11-15T08:45:42.292" v="165"/>
          <ac:spMkLst>
            <pc:docMk/>
            <pc:sldMk cId="1523291668" sldId="1184"/>
            <ac:spMk id="35" creationId="{493FFFF4-8AC9-F3A2-C240-BBFF270C3716}"/>
          </ac:spMkLst>
        </pc:spChg>
        <pc:spChg chg="add mod">
          <ac:chgData name="Devraj, Keerthi (DI SW ICS DVT CSF DV FS)" userId="a61e6969-d85e-42d5-913e-c7fe6fb96353" providerId="ADAL" clId="{8D2B4F8B-645F-482E-A867-56D9A41DB3EB}" dt="2023-11-15T08:45:42.292" v="165"/>
          <ac:spMkLst>
            <pc:docMk/>
            <pc:sldMk cId="1523291668" sldId="1184"/>
            <ac:spMk id="36" creationId="{CAE91C32-1302-6DA2-1F50-14381D99B8BD}"/>
          </ac:spMkLst>
        </pc:spChg>
        <pc:spChg chg="add mod">
          <ac:chgData name="Devraj, Keerthi (DI SW ICS DVT CSF DV FS)" userId="a61e6969-d85e-42d5-913e-c7fe6fb96353" providerId="ADAL" clId="{8D2B4F8B-645F-482E-A867-56D9A41DB3EB}" dt="2023-11-15T08:46:33.978" v="178" actId="1076"/>
          <ac:spMkLst>
            <pc:docMk/>
            <pc:sldMk cId="1523291668" sldId="1184"/>
            <ac:spMk id="37" creationId="{13D1725B-F558-D4C5-68BF-2AA4D469F1CD}"/>
          </ac:spMkLst>
        </pc:spChg>
        <pc:spChg chg="add mod">
          <ac:chgData name="Devraj, Keerthi (DI SW ICS DVT CSF DV FS)" userId="a61e6969-d85e-42d5-913e-c7fe6fb96353" providerId="ADAL" clId="{8D2B4F8B-645F-482E-A867-56D9A41DB3EB}" dt="2023-11-15T08:45:42.292" v="165"/>
          <ac:spMkLst>
            <pc:docMk/>
            <pc:sldMk cId="1523291668" sldId="1184"/>
            <ac:spMk id="38" creationId="{B9665B0C-DB30-9E65-13AA-4BE124CB4A96}"/>
          </ac:spMkLst>
        </pc:spChg>
        <pc:spChg chg="add mod">
          <ac:chgData name="Devraj, Keerthi (DI SW ICS DVT CSF DV FS)" userId="a61e6969-d85e-42d5-913e-c7fe6fb96353" providerId="ADAL" clId="{8D2B4F8B-645F-482E-A867-56D9A41DB3EB}" dt="2023-11-15T08:45:42.292" v="165"/>
          <ac:spMkLst>
            <pc:docMk/>
            <pc:sldMk cId="1523291668" sldId="1184"/>
            <ac:spMk id="39" creationId="{699C46C3-95A4-605A-D542-44EBA46D7101}"/>
          </ac:spMkLst>
        </pc:spChg>
        <pc:spChg chg="add mod">
          <ac:chgData name="Devraj, Keerthi (DI SW ICS DVT CSF DV FS)" userId="a61e6969-d85e-42d5-913e-c7fe6fb96353" providerId="ADAL" clId="{8D2B4F8B-645F-482E-A867-56D9A41DB3EB}" dt="2023-11-15T08:47:18.607" v="184" actId="207"/>
          <ac:spMkLst>
            <pc:docMk/>
            <pc:sldMk cId="1523291668" sldId="1184"/>
            <ac:spMk id="40" creationId="{765E205C-FBB0-FC60-E880-02630AFD74EA}"/>
          </ac:spMkLst>
        </pc:spChg>
        <pc:spChg chg="add mod">
          <ac:chgData name="Devraj, Keerthi (DI SW ICS DVT CSF DV FS)" userId="a61e6969-d85e-42d5-913e-c7fe6fb96353" providerId="ADAL" clId="{8D2B4F8B-645F-482E-A867-56D9A41DB3EB}" dt="2023-11-15T08:46:47.852" v="180" actId="207"/>
          <ac:spMkLst>
            <pc:docMk/>
            <pc:sldMk cId="1523291668" sldId="1184"/>
            <ac:spMk id="41" creationId="{9F7CB5AB-66C8-6333-BE4E-0BA562D701C6}"/>
          </ac:spMkLst>
        </pc:spChg>
        <pc:grpChg chg="add del mod">
          <ac:chgData name="Devraj, Keerthi (DI SW ICS DVT CSF DV FS)" userId="a61e6969-d85e-42d5-913e-c7fe6fb96353" providerId="ADAL" clId="{8D2B4F8B-645F-482E-A867-56D9A41DB3EB}" dt="2023-11-15T08:45:09.053" v="162"/>
          <ac:grpSpMkLst>
            <pc:docMk/>
            <pc:sldMk cId="1523291668" sldId="1184"/>
            <ac:grpSpMk id="7" creationId="{03B45AF6-45F9-258E-4B84-DECE1D5639E0}"/>
          </ac:grpSpMkLst>
        </pc:grpChg>
        <pc:grpChg chg="add del mod">
          <ac:chgData name="Devraj, Keerthi (DI SW ICS DVT CSF DV FS)" userId="a61e6969-d85e-42d5-913e-c7fe6fb96353" providerId="ADAL" clId="{8D2B4F8B-645F-482E-A867-56D9A41DB3EB}" dt="2023-11-15T08:45:09.053" v="162"/>
          <ac:grpSpMkLst>
            <pc:docMk/>
            <pc:sldMk cId="1523291668" sldId="1184"/>
            <ac:grpSpMk id="11" creationId="{C39D6996-49DC-B22A-6067-DE09394A72B7}"/>
          </ac:grpSpMkLst>
        </pc:grpChg>
        <pc:grpChg chg="add del mod">
          <ac:chgData name="Devraj, Keerthi (DI SW ICS DVT CSF DV FS)" userId="a61e6969-d85e-42d5-913e-c7fe6fb96353" providerId="ADAL" clId="{8D2B4F8B-645F-482E-A867-56D9A41DB3EB}" dt="2023-11-15T08:45:09.053" v="162"/>
          <ac:grpSpMkLst>
            <pc:docMk/>
            <pc:sldMk cId="1523291668" sldId="1184"/>
            <ac:grpSpMk id="15" creationId="{D22B3BB4-90E7-6D64-96F8-ABF3BF9DBD3F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8:45:07.832" v="161"/>
          <ac:grpSpMkLst>
            <pc:docMk/>
            <pc:sldMk cId="1523291668" sldId="1184"/>
            <ac:grpSpMk id="16" creationId="{135C45E6-8CAC-ED2A-12EF-2D067DCC0882}"/>
          </ac:grpSpMkLst>
        </pc:grpChg>
        <pc:grpChg chg="add del mod">
          <ac:chgData name="Devraj, Keerthi (DI SW ICS DVT CSF DV FS)" userId="a61e6969-d85e-42d5-913e-c7fe6fb96353" providerId="ADAL" clId="{8D2B4F8B-645F-482E-A867-56D9A41DB3EB}" dt="2023-11-15T08:45:09.053" v="162"/>
          <ac:grpSpMkLst>
            <pc:docMk/>
            <pc:sldMk cId="1523291668" sldId="1184"/>
            <ac:grpSpMk id="20" creationId="{EDC61606-31A9-036D-3562-EFB269EF2D19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8:45:07.832" v="161"/>
          <ac:grpSpMkLst>
            <pc:docMk/>
            <pc:sldMk cId="1523291668" sldId="1184"/>
            <ac:grpSpMk id="21" creationId="{21049617-108E-301F-4AC1-167D765A868B}"/>
          </ac:grpSpMkLst>
        </pc:grpChg>
        <pc:grpChg chg="add mod">
          <ac:chgData name="Devraj, Keerthi (DI SW ICS DVT CSF DV FS)" userId="a61e6969-d85e-42d5-913e-c7fe6fb96353" providerId="ADAL" clId="{8D2B4F8B-645F-482E-A867-56D9A41DB3EB}" dt="2023-11-15T08:45:42.292" v="165"/>
          <ac:grpSpMkLst>
            <pc:docMk/>
            <pc:sldMk cId="1523291668" sldId="1184"/>
            <ac:grpSpMk id="30" creationId="{3A46D745-EA03-067B-95B5-BBCD314D80BF}"/>
          </ac:grpSpMkLst>
        </pc:grpChg>
        <pc:picChg chg="add del mod">
          <ac:chgData name="Devraj, Keerthi (DI SW ICS DVT CSF DV FS)" userId="a61e6969-d85e-42d5-913e-c7fe6fb96353" providerId="ADAL" clId="{8D2B4F8B-645F-482E-A867-56D9A41DB3EB}" dt="2023-11-15T08:45:09.053" v="162"/>
          <ac:picMkLst>
            <pc:docMk/>
            <pc:sldMk cId="1523291668" sldId="1184"/>
            <ac:picMk id="4" creationId="{5956E6EF-8071-0008-011E-61EAA2C65C3D}"/>
          </ac:picMkLst>
        </pc:picChg>
        <pc:picChg chg="add del mod">
          <ac:chgData name="Devraj, Keerthi (DI SW ICS DVT CSF DV FS)" userId="a61e6969-d85e-42d5-913e-c7fe6fb96353" providerId="ADAL" clId="{8D2B4F8B-645F-482E-A867-56D9A41DB3EB}" dt="2023-11-15T08:45:09.053" v="162"/>
          <ac:picMkLst>
            <pc:docMk/>
            <pc:sldMk cId="1523291668" sldId="1184"/>
            <ac:picMk id="25" creationId="{224E3EE7-D3EF-B3B9-26E5-32AD0DC1170E}"/>
          </ac:picMkLst>
        </pc:picChg>
        <pc:cxnChg chg="mod">
          <ac:chgData name="Devraj, Keerthi (DI SW ICS DVT CSF DV FS)" userId="a61e6969-d85e-42d5-913e-c7fe6fb96353" providerId="ADAL" clId="{8D2B4F8B-645F-482E-A867-56D9A41DB3EB}" dt="2023-11-15T08:45:07.832" v="161"/>
          <ac:cxnSpMkLst>
            <pc:docMk/>
            <pc:sldMk cId="1523291668" sldId="1184"/>
            <ac:cxnSpMk id="9" creationId="{9308D040-5D5E-6A42-B84D-55D65CEDE63D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8:45:07.832" v="161"/>
          <ac:cxnSpMkLst>
            <pc:docMk/>
            <pc:sldMk cId="1523291668" sldId="1184"/>
            <ac:cxnSpMk id="13" creationId="{745D8981-13C2-5331-31DC-E9E663288BD3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8:45:07.832" v="161"/>
          <ac:cxnSpMkLst>
            <pc:docMk/>
            <pc:sldMk cId="1523291668" sldId="1184"/>
            <ac:cxnSpMk id="17" creationId="{8B1D0CF1-A2D8-EE4A-D889-CE1E0CD53B9D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8:45:07.832" v="161"/>
          <ac:cxnSpMkLst>
            <pc:docMk/>
            <pc:sldMk cId="1523291668" sldId="1184"/>
            <ac:cxnSpMk id="19" creationId="{4638EC67-DD3C-5D13-3CA7-695C40606E21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8:45:07.832" v="161"/>
          <ac:cxnSpMkLst>
            <pc:docMk/>
            <pc:sldMk cId="1523291668" sldId="1184"/>
            <ac:cxnSpMk id="22" creationId="{6A025ECA-362E-FC0A-CEB0-FEA687EBC463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8:45:07.832" v="161"/>
          <ac:cxnSpMkLst>
            <pc:docMk/>
            <pc:sldMk cId="1523291668" sldId="1184"/>
            <ac:cxnSpMk id="24" creationId="{42581679-8149-6CCF-BA66-38C8BCA691EC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8:45:42.292" v="165"/>
          <ac:cxnSpMkLst>
            <pc:docMk/>
            <pc:sldMk cId="1523291668" sldId="1184"/>
            <ac:cxnSpMk id="31" creationId="{7339C161-9E76-4B21-FFFE-F2C918A87559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8:45:42.292" v="165"/>
          <ac:cxnSpMkLst>
            <pc:docMk/>
            <pc:sldMk cId="1523291668" sldId="1184"/>
            <ac:cxnSpMk id="32" creationId="{B5759D88-F288-C32A-F0F2-0F4A2F33A15E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8:45:42.292" v="165"/>
          <ac:cxnSpMkLst>
            <pc:docMk/>
            <pc:sldMk cId="1523291668" sldId="1184"/>
            <ac:cxnSpMk id="33" creationId="{00269303-1615-EE22-B643-46AF88A951E7}"/>
          </ac:cxnSpMkLst>
        </pc:cxnChg>
      </pc:sldChg>
      <pc:sldChg chg="addSp delSp modSp new mod">
        <pc:chgData name="Devraj, Keerthi (DI SW ICS DVT CSF DV FS)" userId="a61e6969-d85e-42d5-913e-c7fe6fb96353" providerId="ADAL" clId="{8D2B4F8B-645F-482E-A867-56D9A41DB3EB}" dt="2023-11-15T12:49:50.403" v="2761"/>
        <pc:sldMkLst>
          <pc:docMk/>
          <pc:sldMk cId="869511544" sldId="1185"/>
        </pc:sldMkLst>
        <pc:spChg chg="mod">
          <ac:chgData name="Devraj, Keerthi (DI SW ICS DVT CSF DV FS)" userId="a61e6969-d85e-42d5-913e-c7fe6fb96353" providerId="ADAL" clId="{8D2B4F8B-645F-482E-A867-56D9A41DB3EB}" dt="2023-11-15T08:54:07.186" v="482"/>
          <ac:spMkLst>
            <pc:docMk/>
            <pc:sldMk cId="869511544" sldId="1185"/>
            <ac:spMk id="2" creationId="{30A59CE0-18CE-9447-F486-84039784745F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00:55.780" v="624" actId="207"/>
          <ac:spMkLst>
            <pc:docMk/>
            <pc:sldMk cId="869511544" sldId="1185"/>
            <ac:spMk id="4" creationId="{75AF5D1C-380E-B71E-0575-EDF08578D9B0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01:01.586" v="625" actId="207"/>
          <ac:spMkLst>
            <pc:docMk/>
            <pc:sldMk cId="869511544" sldId="1185"/>
            <ac:spMk id="5" creationId="{C92F8D84-EC61-8C37-6375-931FFF592667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01:08.542" v="626" actId="207"/>
          <ac:spMkLst>
            <pc:docMk/>
            <pc:sldMk cId="869511544" sldId="1185"/>
            <ac:spMk id="6" creationId="{CABC8283-76C5-F38A-B0FD-661BECBA7A2B}"/>
          </ac:spMkLst>
        </pc:spChg>
        <pc:spChg chg="add mod">
          <ac:chgData name="Devraj, Keerthi (DI SW ICS DVT CSF DV FS)" userId="a61e6969-d85e-42d5-913e-c7fe6fb96353" providerId="ADAL" clId="{8D2B4F8B-645F-482E-A867-56D9A41DB3EB}" dt="2023-11-15T12:49:50.403" v="2761"/>
          <ac:spMkLst>
            <pc:docMk/>
            <pc:sldMk cId="869511544" sldId="1185"/>
            <ac:spMk id="7" creationId="{6C8F4712-1FCF-3479-D45C-E790F1E5926E}"/>
          </ac:spMkLst>
        </pc:spChg>
        <pc:spChg chg="add mod">
          <ac:chgData name="Devraj, Keerthi (DI SW ICS DVT CSF DV FS)" userId="a61e6969-d85e-42d5-913e-c7fe6fb96353" providerId="ADAL" clId="{8D2B4F8B-645F-482E-A867-56D9A41DB3EB}" dt="2023-11-15T08:54:18.353" v="483"/>
          <ac:spMkLst>
            <pc:docMk/>
            <pc:sldMk cId="869511544" sldId="1185"/>
            <ac:spMk id="8" creationId="{5320918D-E361-0DEC-88F5-9587C8DC29CA}"/>
          </ac:spMkLst>
        </pc:spChg>
        <pc:spChg chg="add mod">
          <ac:chgData name="Devraj, Keerthi (DI SW ICS DVT CSF DV FS)" userId="a61e6969-d85e-42d5-913e-c7fe6fb96353" providerId="ADAL" clId="{8D2B4F8B-645F-482E-A867-56D9A41DB3EB}" dt="2023-11-15T12:49:50.403" v="2761"/>
          <ac:spMkLst>
            <pc:docMk/>
            <pc:sldMk cId="869511544" sldId="1185"/>
            <ac:spMk id="9" creationId="{A6B5B1B6-C4C6-015F-5D81-4AC38F6E8809}"/>
          </ac:spMkLst>
        </pc:spChg>
        <pc:spChg chg="add mod">
          <ac:chgData name="Devraj, Keerthi (DI SW ICS DVT CSF DV FS)" userId="a61e6969-d85e-42d5-913e-c7fe6fb96353" providerId="ADAL" clId="{8D2B4F8B-645F-482E-A867-56D9A41DB3EB}" dt="2023-11-15T08:54:33.663" v="486" actId="207"/>
          <ac:spMkLst>
            <pc:docMk/>
            <pc:sldMk cId="869511544" sldId="1185"/>
            <ac:spMk id="10" creationId="{E09C367E-3CBF-7891-3560-8CCE77EB2B7F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01:41.692" v="628" actId="12"/>
          <ac:spMkLst>
            <pc:docMk/>
            <pc:sldMk cId="869511544" sldId="1185"/>
            <ac:spMk id="11" creationId="{56746ED6-89AE-4298-CB10-AF11C794BF41}"/>
          </ac:spMkLst>
        </pc:spChg>
        <pc:spChg chg="add mod">
          <ac:chgData name="Devraj, Keerthi (DI SW ICS DVT CSF DV FS)" userId="a61e6969-d85e-42d5-913e-c7fe6fb96353" providerId="ADAL" clId="{8D2B4F8B-645F-482E-A867-56D9A41DB3EB}" dt="2023-11-15T08:59:37.153" v="616" actId="207"/>
          <ac:spMkLst>
            <pc:docMk/>
            <pc:sldMk cId="869511544" sldId="1185"/>
            <ac:spMk id="12" creationId="{9525DFD4-48A5-D20E-6481-D312D3E5ACFA}"/>
          </ac:spMkLst>
        </pc:spChg>
        <pc:spChg chg="add del mod">
          <ac:chgData name="Devraj, Keerthi (DI SW ICS DVT CSF DV FS)" userId="a61e6969-d85e-42d5-913e-c7fe6fb96353" providerId="ADAL" clId="{8D2B4F8B-645F-482E-A867-56D9A41DB3EB}" dt="2023-11-15T08:54:40.711" v="488" actId="478"/>
          <ac:spMkLst>
            <pc:docMk/>
            <pc:sldMk cId="869511544" sldId="1185"/>
            <ac:spMk id="16" creationId="{04F52705-A6A1-15D6-35F4-907A5978B517}"/>
          </ac:spMkLst>
        </pc:spChg>
        <pc:picChg chg="add mod">
          <ac:chgData name="Devraj, Keerthi (DI SW ICS DVT CSF DV FS)" userId="a61e6969-d85e-42d5-913e-c7fe6fb96353" providerId="ADAL" clId="{8D2B4F8B-645F-482E-A867-56D9A41DB3EB}" dt="2023-11-15T08:54:18.353" v="483"/>
          <ac:picMkLst>
            <pc:docMk/>
            <pc:sldMk cId="869511544" sldId="1185"/>
            <ac:picMk id="13" creationId="{09AC7288-1CBB-D290-6BE7-CCD53AE9E37D}"/>
          </ac:picMkLst>
        </pc:picChg>
        <pc:picChg chg="add mod">
          <ac:chgData name="Devraj, Keerthi (DI SW ICS DVT CSF DV FS)" userId="a61e6969-d85e-42d5-913e-c7fe6fb96353" providerId="ADAL" clId="{8D2B4F8B-645F-482E-A867-56D9A41DB3EB}" dt="2023-11-15T08:54:18.353" v="483"/>
          <ac:picMkLst>
            <pc:docMk/>
            <pc:sldMk cId="869511544" sldId="1185"/>
            <ac:picMk id="14" creationId="{FE8E23A8-5AF0-95F5-5429-8AAE96696FEB}"/>
          </ac:picMkLst>
        </pc:picChg>
        <pc:picChg chg="add mod">
          <ac:chgData name="Devraj, Keerthi (DI SW ICS DVT CSF DV FS)" userId="a61e6969-d85e-42d5-913e-c7fe6fb96353" providerId="ADAL" clId="{8D2B4F8B-645F-482E-A867-56D9A41DB3EB}" dt="2023-11-15T08:54:18.353" v="483"/>
          <ac:picMkLst>
            <pc:docMk/>
            <pc:sldMk cId="869511544" sldId="1185"/>
            <ac:picMk id="15" creationId="{DA85EFBB-B692-9DDD-75B8-E50C9952C883}"/>
          </ac:picMkLst>
        </pc:picChg>
      </pc:sldChg>
      <pc:sldChg chg="modSp add del mod modShow">
        <pc:chgData name="Devraj, Keerthi (DI SW ICS DVT CSF DV FS)" userId="a61e6969-d85e-42d5-913e-c7fe6fb96353" providerId="ADAL" clId="{8D2B4F8B-645F-482E-A867-56D9A41DB3EB}" dt="2023-11-15T12:48:07.338" v="2706" actId="47"/>
        <pc:sldMkLst>
          <pc:docMk/>
          <pc:sldMk cId="2001174029" sldId="1186"/>
        </pc:sldMkLst>
        <pc:spChg chg="mod">
          <ac:chgData name="Devraj, Keerthi (DI SW ICS DVT CSF DV FS)" userId="a61e6969-d85e-42d5-913e-c7fe6fb96353" providerId="ADAL" clId="{8D2B4F8B-645F-482E-A867-56D9A41DB3EB}" dt="2023-11-15T09:05:59.172" v="808" actId="6549"/>
          <ac:spMkLst>
            <pc:docMk/>
            <pc:sldMk cId="2001174029" sldId="1186"/>
            <ac:spMk id="2" creationId="{30A59CE0-18CE-9447-F486-84039784745F}"/>
          </ac:spMkLst>
        </pc:spChg>
      </pc:sldChg>
      <pc:sldChg chg="addSp delSp modSp add mod ord modShow modNotes modNotesTx">
        <pc:chgData name="Devraj, Keerthi (DI SW ICS DVT CSF DV FS)" userId="a61e6969-d85e-42d5-913e-c7fe6fb96353" providerId="ADAL" clId="{8D2B4F8B-645F-482E-A867-56D9A41DB3EB}" dt="2023-11-15T12:49:50.403" v="2761"/>
        <pc:sldMkLst>
          <pc:docMk/>
          <pc:sldMk cId="1876145739" sldId="1187"/>
        </pc:sldMkLst>
        <pc:spChg chg="mod">
          <ac:chgData name="Devraj, Keerthi (DI SW ICS DVT CSF DV FS)" userId="a61e6969-d85e-42d5-913e-c7fe6fb96353" providerId="ADAL" clId="{8D2B4F8B-645F-482E-A867-56D9A41DB3EB}" dt="2023-11-15T12:48:42.386" v="2759" actId="20577"/>
          <ac:spMkLst>
            <pc:docMk/>
            <pc:sldMk cId="1876145739" sldId="1187"/>
            <ac:spMk id="2" creationId="{30A59CE0-18CE-9447-F486-84039784745F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09:33.764" v="812" actId="1076"/>
          <ac:spMkLst>
            <pc:docMk/>
            <pc:sldMk cId="1876145739" sldId="1187"/>
            <ac:spMk id="4" creationId="{53DD9D51-6D2B-57DA-1091-3895614F01AF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09:33.764" v="812" actId="1076"/>
          <ac:spMkLst>
            <pc:docMk/>
            <pc:sldMk cId="1876145739" sldId="1187"/>
            <ac:spMk id="5" creationId="{AC77813E-0AFA-2537-80B2-F8AD48159EE6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09:33.764" v="812" actId="1076"/>
          <ac:spMkLst>
            <pc:docMk/>
            <pc:sldMk cId="1876145739" sldId="1187"/>
            <ac:spMk id="6" creationId="{DA86A18A-FEEC-43A6-3813-025A6E8C154E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09:33.764" v="812" actId="1076"/>
          <ac:spMkLst>
            <pc:docMk/>
            <pc:sldMk cId="1876145739" sldId="1187"/>
            <ac:spMk id="7" creationId="{22E6AFA6-3113-EF0A-D964-68E9525DB40B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10:23.156" v="820" actId="1076"/>
          <ac:spMkLst>
            <pc:docMk/>
            <pc:sldMk cId="1876145739" sldId="1187"/>
            <ac:spMk id="9" creationId="{D5541448-7014-26FF-0203-AC2E56DA88F2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13:40.454" v="893" actId="1076"/>
          <ac:spMkLst>
            <pc:docMk/>
            <pc:sldMk cId="1876145739" sldId="1187"/>
            <ac:spMk id="10" creationId="{B7CDDFB0-1958-9725-6F20-ADE99529B4A0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13:40.454" v="893" actId="1076"/>
          <ac:spMkLst>
            <pc:docMk/>
            <pc:sldMk cId="1876145739" sldId="1187"/>
            <ac:spMk id="11" creationId="{D12AC291-FB36-373B-3712-465B83BDCA37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13:40.454" v="893" actId="1076"/>
          <ac:spMkLst>
            <pc:docMk/>
            <pc:sldMk cId="1876145739" sldId="1187"/>
            <ac:spMk id="12" creationId="{AB56F523-4E11-DAF3-662A-CBD709AF1797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13:40.454" v="893" actId="1076"/>
          <ac:spMkLst>
            <pc:docMk/>
            <pc:sldMk cId="1876145739" sldId="1187"/>
            <ac:spMk id="13" creationId="{1B8DD170-0D34-F5B2-3F2C-A8ECBD0C1DDC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14:57.911" v="932" actId="14100"/>
          <ac:spMkLst>
            <pc:docMk/>
            <pc:sldMk cId="1876145739" sldId="1187"/>
            <ac:spMk id="14" creationId="{0FF495C0-9F39-7CA4-13F1-D18A0754EC5A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09:33.764" v="812" actId="1076"/>
          <ac:spMkLst>
            <pc:docMk/>
            <pc:sldMk cId="1876145739" sldId="1187"/>
            <ac:spMk id="15" creationId="{B9BF873E-BFBC-6B95-30AD-05F22426F329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09:33.764" v="812" actId="1076"/>
          <ac:spMkLst>
            <pc:docMk/>
            <pc:sldMk cId="1876145739" sldId="1187"/>
            <ac:spMk id="17" creationId="{1CCAF6C7-7383-7C29-0D42-FD4D5D19651F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13:13.629" v="886" actId="14100"/>
          <ac:spMkLst>
            <pc:docMk/>
            <pc:sldMk cId="1876145739" sldId="1187"/>
            <ac:spMk id="18" creationId="{D076A237-59D7-6842-59E6-62290D718F32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09:33.764" v="812" actId="1076"/>
          <ac:spMkLst>
            <pc:docMk/>
            <pc:sldMk cId="1876145739" sldId="1187"/>
            <ac:spMk id="19" creationId="{1288C6BF-4288-8EFA-E3D0-AC5ACC7F7B0A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13:08.740" v="885" actId="14100"/>
          <ac:spMkLst>
            <pc:docMk/>
            <pc:sldMk cId="1876145739" sldId="1187"/>
            <ac:spMk id="20" creationId="{ACAE9B4C-7206-3B5E-7AE0-FBDCF2232394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09:33.764" v="812" actId="1076"/>
          <ac:spMkLst>
            <pc:docMk/>
            <pc:sldMk cId="1876145739" sldId="1187"/>
            <ac:spMk id="21" creationId="{E2578C24-B747-E601-09A6-80116B27E856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13:18.635" v="889" actId="1036"/>
          <ac:spMkLst>
            <pc:docMk/>
            <pc:sldMk cId="1876145739" sldId="1187"/>
            <ac:spMk id="22" creationId="{FD891AF3-B372-5B59-CF09-8BE3DA2D7A11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09:33.764" v="812" actId="1076"/>
          <ac:spMkLst>
            <pc:docMk/>
            <pc:sldMk cId="1876145739" sldId="1187"/>
            <ac:spMk id="24" creationId="{D5035B08-8E2C-6AF5-C614-68856BBEFDD7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12:40.076" v="852" actId="14100"/>
          <ac:spMkLst>
            <pc:docMk/>
            <pc:sldMk cId="1876145739" sldId="1187"/>
            <ac:spMk id="25" creationId="{D822EFAB-FDF8-AD1F-BEA8-0B6015F22D3A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09:33.764" v="812" actId="1076"/>
          <ac:spMkLst>
            <pc:docMk/>
            <pc:sldMk cId="1876145739" sldId="1187"/>
            <ac:spMk id="26" creationId="{4D4E214F-E64F-E4C3-1BBD-B13525093206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12:27.892" v="849" actId="2710"/>
          <ac:spMkLst>
            <pc:docMk/>
            <pc:sldMk cId="1876145739" sldId="1187"/>
            <ac:spMk id="27" creationId="{36678D9D-6EED-77D6-A688-B5F900C426B9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15:02.496" v="933" actId="14100"/>
          <ac:spMkLst>
            <pc:docMk/>
            <pc:sldMk cId="1876145739" sldId="1187"/>
            <ac:spMk id="28" creationId="{32354719-0255-2233-7640-6BDD357790CF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09:33.764" v="812" actId="1076"/>
          <ac:spMkLst>
            <pc:docMk/>
            <pc:sldMk cId="1876145739" sldId="1187"/>
            <ac:spMk id="29" creationId="{A07690F8-7ABA-0DFB-0F7B-754C15158DD4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09:33.764" v="812" actId="1076"/>
          <ac:spMkLst>
            <pc:docMk/>
            <pc:sldMk cId="1876145739" sldId="1187"/>
            <ac:spMk id="30" creationId="{45BCD237-35D7-8075-C8B5-EE188C0CDFA8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14:27.399" v="931" actId="20577"/>
          <ac:spMkLst>
            <pc:docMk/>
            <pc:sldMk cId="1876145739" sldId="1187"/>
            <ac:spMk id="32" creationId="{AF66A4CD-B622-0603-912F-4EB50808E59C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09:33.764" v="812" actId="1076"/>
          <ac:spMkLst>
            <pc:docMk/>
            <pc:sldMk cId="1876145739" sldId="1187"/>
            <ac:spMk id="33" creationId="{2FFDC885-3A0B-2B2C-DDFE-401928203FC4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14:22.216" v="928" actId="1035"/>
          <ac:spMkLst>
            <pc:docMk/>
            <pc:sldMk cId="1876145739" sldId="1187"/>
            <ac:spMk id="34" creationId="{A87AAE6C-00FA-CBB4-D617-5D18F324D2AE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14:20.697" v="927" actId="1036"/>
          <ac:spMkLst>
            <pc:docMk/>
            <pc:sldMk cId="1876145739" sldId="1187"/>
            <ac:spMk id="35" creationId="{936FFE48-67D8-AEC0-43F6-25C786324181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14:14.234" v="915" actId="1036"/>
          <ac:spMkLst>
            <pc:docMk/>
            <pc:sldMk cId="1876145739" sldId="1187"/>
            <ac:spMk id="36" creationId="{0FA0A294-5925-EE08-F162-829B38586619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14:11.657" v="907" actId="1036"/>
          <ac:spMkLst>
            <pc:docMk/>
            <pc:sldMk cId="1876145739" sldId="1187"/>
            <ac:spMk id="37" creationId="{ABC4C6D4-65DC-A1C8-B8C2-673989D4E776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09:33.764" v="812" actId="1076"/>
          <ac:spMkLst>
            <pc:docMk/>
            <pc:sldMk cId="1876145739" sldId="1187"/>
            <ac:spMk id="38" creationId="{EAD60B3A-6F5D-875C-9AD5-DD05792F093D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13:40.454" v="893" actId="1076"/>
          <ac:spMkLst>
            <pc:docMk/>
            <pc:sldMk cId="1876145739" sldId="1187"/>
            <ac:spMk id="43" creationId="{60F11A76-0FD3-E0BD-6687-87CF1082875E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14:09.179" v="900" actId="1036"/>
          <ac:spMkLst>
            <pc:docMk/>
            <pc:sldMk cId="1876145739" sldId="1187"/>
            <ac:spMk id="44" creationId="{B90BA7AC-0738-FF5B-B2A1-B1FC29C6D0FD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09:33.764" v="812" actId="1076"/>
          <ac:spMkLst>
            <pc:docMk/>
            <pc:sldMk cId="1876145739" sldId="1187"/>
            <ac:spMk id="45" creationId="{91E94C90-F38E-B448-C6EA-A121CBAF060F}"/>
          </ac:spMkLst>
        </pc:spChg>
        <pc:spChg chg="add mod ord">
          <ac:chgData name="Devraj, Keerthi (DI SW ICS DVT CSF DV FS)" userId="a61e6969-d85e-42d5-913e-c7fe6fb96353" providerId="ADAL" clId="{8D2B4F8B-645F-482E-A867-56D9A41DB3EB}" dt="2023-11-15T09:11:24.008" v="834" actId="167"/>
          <ac:spMkLst>
            <pc:docMk/>
            <pc:sldMk cId="1876145739" sldId="1187"/>
            <ac:spMk id="46" creationId="{80F883D6-550E-5513-3CE1-73D7B2A67B47}"/>
          </ac:spMkLst>
        </pc:spChg>
        <pc:picChg chg="add del mod">
          <ac:chgData name="Devraj, Keerthi (DI SW ICS DVT CSF DV FS)" userId="a61e6969-d85e-42d5-913e-c7fe6fb96353" providerId="ADAL" clId="{8D2B4F8B-645F-482E-A867-56D9A41DB3EB}" dt="2023-11-15T09:10:10.511" v="817" actId="478"/>
          <ac:picMkLst>
            <pc:docMk/>
            <pc:sldMk cId="1876145739" sldId="1187"/>
            <ac:picMk id="39" creationId="{30A7E679-1F9D-0FFE-6311-B83C44DBE9E3}"/>
          </ac:picMkLst>
        </pc:picChg>
        <pc:picChg chg="add del mod">
          <ac:chgData name="Devraj, Keerthi (DI SW ICS DVT CSF DV FS)" userId="a61e6969-d85e-42d5-913e-c7fe6fb96353" providerId="ADAL" clId="{8D2B4F8B-645F-482E-A867-56D9A41DB3EB}" dt="2023-11-15T09:10:09.473" v="815" actId="478"/>
          <ac:picMkLst>
            <pc:docMk/>
            <pc:sldMk cId="1876145739" sldId="1187"/>
            <ac:picMk id="40" creationId="{3FD04200-251A-6436-D40D-DA32D1823CA2}"/>
          </ac:picMkLst>
        </pc:picChg>
        <pc:picChg chg="add del mod">
          <ac:chgData name="Devraj, Keerthi (DI SW ICS DVT CSF DV FS)" userId="a61e6969-d85e-42d5-913e-c7fe6fb96353" providerId="ADAL" clId="{8D2B4F8B-645F-482E-A867-56D9A41DB3EB}" dt="2023-11-15T09:10:10.042" v="816" actId="478"/>
          <ac:picMkLst>
            <pc:docMk/>
            <pc:sldMk cId="1876145739" sldId="1187"/>
            <ac:picMk id="41" creationId="{65D35AF2-A60F-0057-0BC4-448D4629BE42}"/>
          </ac:picMkLst>
        </pc:picChg>
        <pc:cxnChg chg="add mod">
          <ac:chgData name="Devraj, Keerthi (DI SW ICS DVT CSF DV FS)" userId="a61e6969-d85e-42d5-913e-c7fe6fb96353" providerId="ADAL" clId="{8D2B4F8B-645F-482E-A867-56D9A41DB3EB}" dt="2023-11-15T09:13:40.454" v="893" actId="1076"/>
          <ac:cxnSpMkLst>
            <pc:docMk/>
            <pc:sldMk cId="1876145739" sldId="1187"/>
            <ac:cxnSpMk id="8" creationId="{45453A18-6357-5E52-0B5B-D46C94BF877C}"/>
          </ac:cxnSpMkLst>
        </pc:cxnChg>
        <pc:cxnChg chg="add mod">
          <ac:chgData name="Devraj, Keerthi (DI SW ICS DVT CSF DV FS)" userId="a61e6969-d85e-42d5-913e-c7fe6fb96353" providerId="ADAL" clId="{8D2B4F8B-645F-482E-A867-56D9A41DB3EB}" dt="2023-11-15T09:09:33.764" v="812" actId="1076"/>
          <ac:cxnSpMkLst>
            <pc:docMk/>
            <pc:sldMk cId="1876145739" sldId="1187"/>
            <ac:cxnSpMk id="16" creationId="{A7E08FBB-46C3-B111-0BAD-384DA6D7BDC0}"/>
          </ac:cxnSpMkLst>
        </pc:cxnChg>
        <pc:cxnChg chg="add mod">
          <ac:chgData name="Devraj, Keerthi (DI SW ICS DVT CSF DV FS)" userId="a61e6969-d85e-42d5-913e-c7fe6fb96353" providerId="ADAL" clId="{8D2B4F8B-645F-482E-A867-56D9A41DB3EB}" dt="2023-11-15T09:15:02.496" v="933" actId="14100"/>
          <ac:cxnSpMkLst>
            <pc:docMk/>
            <pc:sldMk cId="1876145739" sldId="1187"/>
            <ac:cxnSpMk id="23" creationId="{1E14BE57-F09F-EDC4-7B9E-7CC48AE25C13}"/>
          </ac:cxnSpMkLst>
        </pc:cxnChg>
        <pc:cxnChg chg="add mod">
          <ac:chgData name="Devraj, Keerthi (DI SW ICS DVT CSF DV FS)" userId="a61e6969-d85e-42d5-913e-c7fe6fb96353" providerId="ADAL" clId="{8D2B4F8B-645F-482E-A867-56D9A41DB3EB}" dt="2023-11-15T09:09:33.764" v="812" actId="1076"/>
          <ac:cxnSpMkLst>
            <pc:docMk/>
            <pc:sldMk cId="1876145739" sldId="1187"/>
            <ac:cxnSpMk id="31" creationId="{1E2A40CB-D912-682B-22E9-2D39C9FCDC72}"/>
          </ac:cxnSpMkLst>
        </pc:cxnChg>
        <pc:cxnChg chg="add mod">
          <ac:chgData name="Devraj, Keerthi (DI SW ICS DVT CSF DV FS)" userId="a61e6969-d85e-42d5-913e-c7fe6fb96353" providerId="ADAL" clId="{8D2B4F8B-645F-482E-A867-56D9A41DB3EB}" dt="2023-11-15T09:11:16.674" v="832" actId="1076"/>
          <ac:cxnSpMkLst>
            <pc:docMk/>
            <pc:sldMk cId="1876145739" sldId="1187"/>
            <ac:cxnSpMk id="42" creationId="{D50A82C7-C94E-7E2A-3475-27114803EE91}"/>
          </ac:cxnSpMkLst>
        </pc:cxnChg>
      </pc:sldChg>
      <pc:sldChg chg="addSp delSp modSp add mod">
        <pc:chgData name="Devraj, Keerthi (DI SW ICS DVT CSF DV FS)" userId="a61e6969-d85e-42d5-913e-c7fe6fb96353" providerId="ADAL" clId="{8D2B4F8B-645F-482E-A867-56D9A41DB3EB}" dt="2023-11-15T09:43:07.485" v="1369"/>
        <pc:sldMkLst>
          <pc:docMk/>
          <pc:sldMk cId="2743562955" sldId="1188"/>
        </pc:sldMkLst>
        <pc:spChg chg="mod">
          <ac:chgData name="Devraj, Keerthi (DI SW ICS DVT CSF DV FS)" userId="a61e6969-d85e-42d5-913e-c7fe6fb96353" providerId="ADAL" clId="{8D2B4F8B-645F-482E-A867-56D9A41DB3EB}" dt="2023-11-15T09:19:15.633" v="936"/>
          <ac:spMkLst>
            <pc:docMk/>
            <pc:sldMk cId="2743562955" sldId="1188"/>
            <ac:spMk id="2" creationId="{30A59CE0-18CE-9447-F486-84039784745F}"/>
          </ac:spMkLst>
        </pc:spChg>
        <pc:spChg chg="add del mod">
          <ac:chgData name="Devraj, Keerthi (DI SW ICS DVT CSF DV FS)" userId="a61e6969-d85e-42d5-913e-c7fe6fb96353" providerId="ADAL" clId="{8D2B4F8B-645F-482E-A867-56D9A41DB3EB}" dt="2023-11-15T09:43:07.010" v="1368" actId="478"/>
          <ac:spMkLst>
            <pc:docMk/>
            <pc:sldMk cId="2743562955" sldId="1188"/>
            <ac:spMk id="4" creationId="{3B90DFB3-87D2-54DF-F3F4-9D159BFF9360}"/>
          </ac:spMkLst>
        </pc:spChg>
        <pc:spChg chg="add del mod">
          <ac:chgData name="Devraj, Keerthi (DI SW ICS DVT CSF DV FS)" userId="a61e6969-d85e-42d5-913e-c7fe6fb96353" providerId="ADAL" clId="{8D2B4F8B-645F-482E-A867-56D9A41DB3EB}" dt="2023-11-15T09:43:07.010" v="1368" actId="478"/>
          <ac:spMkLst>
            <pc:docMk/>
            <pc:sldMk cId="2743562955" sldId="1188"/>
            <ac:spMk id="5" creationId="{F417E931-445A-5EC5-0F7A-2C6E6CCA4DFF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24:08.626" v="1047" actId="208"/>
          <ac:spMkLst>
            <pc:docMk/>
            <pc:sldMk cId="2743562955" sldId="1188"/>
            <ac:spMk id="6" creationId="{8A40BAD9-00F4-1450-AE27-0C4A36E13FFF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20:53.935" v="944"/>
          <ac:spMkLst>
            <pc:docMk/>
            <pc:sldMk cId="2743562955" sldId="1188"/>
            <ac:spMk id="7" creationId="{7A6BDA49-023E-7BC4-F03E-CBD9E60810F3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20:53.935" v="944"/>
          <ac:spMkLst>
            <pc:docMk/>
            <pc:sldMk cId="2743562955" sldId="1188"/>
            <ac:spMk id="8" creationId="{1C8463E8-2229-F6A5-838F-0127D6D88B57}"/>
          </ac:spMkLst>
        </pc:spChg>
        <pc:spChg chg="mod">
          <ac:chgData name="Devraj, Keerthi (DI SW ICS DVT CSF DV FS)" userId="a61e6969-d85e-42d5-913e-c7fe6fb96353" providerId="ADAL" clId="{8D2B4F8B-645F-482E-A867-56D9A41DB3EB}" dt="2023-11-15T09:20:53.935" v="944"/>
          <ac:spMkLst>
            <pc:docMk/>
            <pc:sldMk cId="2743562955" sldId="1188"/>
            <ac:spMk id="24" creationId="{6A0E900C-CC06-6505-3E5A-18B053CE2D70}"/>
          </ac:spMkLst>
        </pc:spChg>
        <pc:spChg chg="mod">
          <ac:chgData name="Devraj, Keerthi (DI SW ICS DVT CSF DV FS)" userId="a61e6969-d85e-42d5-913e-c7fe6fb96353" providerId="ADAL" clId="{8D2B4F8B-645F-482E-A867-56D9A41DB3EB}" dt="2023-11-15T09:20:53.935" v="944"/>
          <ac:spMkLst>
            <pc:docMk/>
            <pc:sldMk cId="2743562955" sldId="1188"/>
            <ac:spMk id="26" creationId="{4608B75A-4B28-5101-0998-790033E209E5}"/>
          </ac:spMkLst>
        </pc:spChg>
        <pc:spChg chg="mod">
          <ac:chgData name="Devraj, Keerthi (DI SW ICS DVT CSF DV FS)" userId="a61e6969-d85e-42d5-913e-c7fe6fb96353" providerId="ADAL" clId="{8D2B4F8B-645F-482E-A867-56D9A41DB3EB}" dt="2023-11-15T09:20:53.935" v="944"/>
          <ac:spMkLst>
            <pc:docMk/>
            <pc:sldMk cId="2743562955" sldId="1188"/>
            <ac:spMk id="27" creationId="{37ADA65C-4F6D-0AE7-ABFD-3D5831CBD291}"/>
          </ac:spMkLst>
        </pc:spChg>
        <pc:spChg chg="mod">
          <ac:chgData name="Devraj, Keerthi (DI SW ICS DVT CSF DV FS)" userId="a61e6969-d85e-42d5-913e-c7fe6fb96353" providerId="ADAL" clId="{8D2B4F8B-645F-482E-A867-56D9A41DB3EB}" dt="2023-11-15T09:20:53.935" v="944"/>
          <ac:spMkLst>
            <pc:docMk/>
            <pc:sldMk cId="2743562955" sldId="1188"/>
            <ac:spMk id="28" creationId="{E0177653-114B-92CE-CABD-11C262D58EDE}"/>
          </ac:spMkLst>
        </pc:spChg>
        <pc:spChg chg="mod">
          <ac:chgData name="Devraj, Keerthi (DI SW ICS DVT CSF DV FS)" userId="a61e6969-d85e-42d5-913e-c7fe6fb96353" providerId="ADAL" clId="{8D2B4F8B-645F-482E-A867-56D9A41DB3EB}" dt="2023-11-15T09:20:53.935" v="944"/>
          <ac:spMkLst>
            <pc:docMk/>
            <pc:sldMk cId="2743562955" sldId="1188"/>
            <ac:spMk id="36" creationId="{E74F8ADC-6A43-6D74-FAEC-BAF435B98477}"/>
          </ac:spMkLst>
        </pc:spChg>
        <pc:spChg chg="mod">
          <ac:chgData name="Devraj, Keerthi (DI SW ICS DVT CSF DV FS)" userId="a61e6969-d85e-42d5-913e-c7fe6fb96353" providerId="ADAL" clId="{8D2B4F8B-645F-482E-A867-56D9A41DB3EB}" dt="2023-11-15T09:20:53.935" v="944"/>
          <ac:spMkLst>
            <pc:docMk/>
            <pc:sldMk cId="2743562955" sldId="1188"/>
            <ac:spMk id="37" creationId="{8FDEFB43-569D-1F03-875A-D0DC04BFEF18}"/>
          </ac:spMkLst>
        </pc:spChg>
        <pc:spChg chg="mod">
          <ac:chgData name="Devraj, Keerthi (DI SW ICS DVT CSF DV FS)" userId="a61e6969-d85e-42d5-913e-c7fe6fb96353" providerId="ADAL" clId="{8D2B4F8B-645F-482E-A867-56D9A41DB3EB}" dt="2023-11-15T09:20:53.935" v="944"/>
          <ac:spMkLst>
            <pc:docMk/>
            <pc:sldMk cId="2743562955" sldId="1188"/>
            <ac:spMk id="39" creationId="{323F8FC7-7E43-AD33-D3A6-7373AEF85825}"/>
          </ac:spMkLst>
        </pc:spChg>
        <pc:spChg chg="mod">
          <ac:chgData name="Devraj, Keerthi (DI SW ICS DVT CSF DV FS)" userId="a61e6969-d85e-42d5-913e-c7fe6fb96353" providerId="ADAL" clId="{8D2B4F8B-645F-482E-A867-56D9A41DB3EB}" dt="2023-11-15T09:20:53.935" v="944"/>
          <ac:spMkLst>
            <pc:docMk/>
            <pc:sldMk cId="2743562955" sldId="1188"/>
            <ac:spMk id="41" creationId="{1A1B5BF2-8410-452E-3F20-3BE1661CFEDE}"/>
          </ac:spMkLst>
        </pc:spChg>
        <pc:spChg chg="mod">
          <ac:chgData name="Devraj, Keerthi (DI SW ICS DVT CSF DV FS)" userId="a61e6969-d85e-42d5-913e-c7fe6fb96353" providerId="ADAL" clId="{8D2B4F8B-645F-482E-A867-56D9A41DB3EB}" dt="2023-11-15T09:20:53.935" v="944"/>
          <ac:spMkLst>
            <pc:docMk/>
            <pc:sldMk cId="2743562955" sldId="1188"/>
            <ac:spMk id="42" creationId="{4A17454D-2199-1133-7C41-26BE4D4E3C3D}"/>
          </ac:spMkLst>
        </pc:spChg>
        <pc:spChg chg="mod">
          <ac:chgData name="Devraj, Keerthi (DI SW ICS DVT CSF DV FS)" userId="a61e6969-d85e-42d5-913e-c7fe6fb96353" providerId="ADAL" clId="{8D2B4F8B-645F-482E-A867-56D9A41DB3EB}" dt="2023-11-15T09:20:53.935" v="944"/>
          <ac:spMkLst>
            <pc:docMk/>
            <pc:sldMk cId="2743562955" sldId="1188"/>
            <ac:spMk id="43" creationId="{FA074C17-0EB2-CD86-E43E-C579753D674F}"/>
          </ac:spMkLst>
        </pc:spChg>
        <pc:spChg chg="mod">
          <ac:chgData name="Devraj, Keerthi (DI SW ICS DVT CSF DV FS)" userId="a61e6969-d85e-42d5-913e-c7fe6fb96353" providerId="ADAL" clId="{8D2B4F8B-645F-482E-A867-56D9A41DB3EB}" dt="2023-11-15T09:20:53.935" v="944"/>
          <ac:spMkLst>
            <pc:docMk/>
            <pc:sldMk cId="2743562955" sldId="1188"/>
            <ac:spMk id="51" creationId="{914AD570-1CE8-B8F2-DE37-8C6331E5B012}"/>
          </ac:spMkLst>
        </pc:spChg>
        <pc:spChg chg="mod">
          <ac:chgData name="Devraj, Keerthi (DI SW ICS DVT CSF DV FS)" userId="a61e6969-d85e-42d5-913e-c7fe6fb96353" providerId="ADAL" clId="{8D2B4F8B-645F-482E-A867-56D9A41DB3EB}" dt="2023-11-15T09:20:53.935" v="944"/>
          <ac:spMkLst>
            <pc:docMk/>
            <pc:sldMk cId="2743562955" sldId="1188"/>
            <ac:spMk id="52" creationId="{B6B3948B-A923-1804-C91F-0FF096CF1243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38:54.876" v="1081" actId="207"/>
          <ac:spMkLst>
            <pc:docMk/>
            <pc:sldMk cId="2743562955" sldId="1188"/>
            <ac:spMk id="53" creationId="{749129B0-AC4C-EC2B-6240-B4A142DB52DC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20:53.935" v="944"/>
          <ac:spMkLst>
            <pc:docMk/>
            <pc:sldMk cId="2743562955" sldId="1188"/>
            <ac:spMk id="54" creationId="{32D8D8B9-80AF-FD7C-1FA3-A5AF7AE530C8}"/>
          </ac:spMkLst>
        </pc:spChg>
        <pc:spChg chg="mod">
          <ac:chgData name="Devraj, Keerthi (DI SW ICS DVT CSF DV FS)" userId="a61e6969-d85e-42d5-913e-c7fe6fb96353" providerId="ADAL" clId="{8D2B4F8B-645F-482E-A867-56D9A41DB3EB}" dt="2023-11-15T09:20:53.935" v="944"/>
          <ac:spMkLst>
            <pc:docMk/>
            <pc:sldMk cId="2743562955" sldId="1188"/>
            <ac:spMk id="56" creationId="{71734829-1AD5-AD69-D2DB-8147BD325ACB}"/>
          </ac:spMkLst>
        </pc:spChg>
        <pc:spChg chg="mod">
          <ac:chgData name="Devraj, Keerthi (DI SW ICS DVT CSF DV FS)" userId="a61e6969-d85e-42d5-913e-c7fe6fb96353" providerId="ADAL" clId="{8D2B4F8B-645F-482E-A867-56D9A41DB3EB}" dt="2023-11-15T09:20:53.935" v="944"/>
          <ac:spMkLst>
            <pc:docMk/>
            <pc:sldMk cId="2743562955" sldId="1188"/>
            <ac:spMk id="58" creationId="{14309B89-62B7-0117-8F63-529447725B93}"/>
          </ac:spMkLst>
        </pc:spChg>
        <pc:spChg chg="mod">
          <ac:chgData name="Devraj, Keerthi (DI SW ICS DVT CSF DV FS)" userId="a61e6969-d85e-42d5-913e-c7fe6fb96353" providerId="ADAL" clId="{8D2B4F8B-645F-482E-A867-56D9A41DB3EB}" dt="2023-11-15T09:20:53.935" v="944"/>
          <ac:spMkLst>
            <pc:docMk/>
            <pc:sldMk cId="2743562955" sldId="1188"/>
            <ac:spMk id="59" creationId="{93DAEFF9-C3B6-B80A-CCC9-656DB5C8C559}"/>
          </ac:spMkLst>
        </pc:spChg>
        <pc:spChg chg="mod">
          <ac:chgData name="Devraj, Keerthi (DI SW ICS DVT CSF DV FS)" userId="a61e6969-d85e-42d5-913e-c7fe6fb96353" providerId="ADAL" clId="{8D2B4F8B-645F-482E-A867-56D9A41DB3EB}" dt="2023-11-15T09:20:53.935" v="944"/>
          <ac:spMkLst>
            <pc:docMk/>
            <pc:sldMk cId="2743562955" sldId="1188"/>
            <ac:spMk id="60" creationId="{097011C0-2E9F-D486-A893-9BC2F561286D}"/>
          </ac:spMkLst>
        </pc:spChg>
        <pc:spChg chg="mod">
          <ac:chgData name="Devraj, Keerthi (DI SW ICS DVT CSF DV FS)" userId="a61e6969-d85e-42d5-913e-c7fe6fb96353" providerId="ADAL" clId="{8D2B4F8B-645F-482E-A867-56D9A41DB3EB}" dt="2023-11-15T09:20:53.935" v="944"/>
          <ac:spMkLst>
            <pc:docMk/>
            <pc:sldMk cId="2743562955" sldId="1188"/>
            <ac:spMk id="68" creationId="{9991927F-E5E7-8E26-9FD9-1009D21D616A}"/>
          </ac:spMkLst>
        </pc:spChg>
        <pc:spChg chg="mod">
          <ac:chgData name="Devraj, Keerthi (DI SW ICS DVT CSF DV FS)" userId="a61e6969-d85e-42d5-913e-c7fe6fb96353" providerId="ADAL" clId="{8D2B4F8B-645F-482E-A867-56D9A41DB3EB}" dt="2023-11-15T09:20:53.935" v="944"/>
          <ac:spMkLst>
            <pc:docMk/>
            <pc:sldMk cId="2743562955" sldId="1188"/>
            <ac:spMk id="69" creationId="{E040C2B8-23FD-75ED-6B4F-11F14D5F90E3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20:53.935" v="944"/>
          <ac:spMkLst>
            <pc:docMk/>
            <pc:sldMk cId="2743562955" sldId="1188"/>
            <ac:spMk id="70" creationId="{94374491-0DB6-A749-3B86-E5B78BD317CA}"/>
          </ac:spMkLst>
        </pc:spChg>
        <pc:spChg chg="mod">
          <ac:chgData name="Devraj, Keerthi (DI SW ICS DVT CSF DV FS)" userId="a61e6969-d85e-42d5-913e-c7fe6fb96353" providerId="ADAL" clId="{8D2B4F8B-645F-482E-A867-56D9A41DB3EB}" dt="2023-11-15T09:20:53.935" v="944"/>
          <ac:spMkLst>
            <pc:docMk/>
            <pc:sldMk cId="2743562955" sldId="1188"/>
            <ac:spMk id="72" creationId="{D1AE1C19-5147-BA0F-C3E3-43A63597B7AA}"/>
          </ac:spMkLst>
        </pc:spChg>
        <pc:spChg chg="mod">
          <ac:chgData name="Devraj, Keerthi (DI SW ICS DVT CSF DV FS)" userId="a61e6969-d85e-42d5-913e-c7fe6fb96353" providerId="ADAL" clId="{8D2B4F8B-645F-482E-A867-56D9A41DB3EB}" dt="2023-11-15T09:20:53.935" v="944"/>
          <ac:spMkLst>
            <pc:docMk/>
            <pc:sldMk cId="2743562955" sldId="1188"/>
            <ac:spMk id="74" creationId="{0E73631D-4B2F-806E-A664-6C5A8DB4346B}"/>
          </ac:spMkLst>
        </pc:spChg>
        <pc:spChg chg="mod">
          <ac:chgData name="Devraj, Keerthi (DI SW ICS DVT CSF DV FS)" userId="a61e6969-d85e-42d5-913e-c7fe6fb96353" providerId="ADAL" clId="{8D2B4F8B-645F-482E-A867-56D9A41DB3EB}" dt="2023-11-15T09:20:53.935" v="944"/>
          <ac:spMkLst>
            <pc:docMk/>
            <pc:sldMk cId="2743562955" sldId="1188"/>
            <ac:spMk id="75" creationId="{D491DCB5-2FAB-E277-D8B9-C625ADFC49FB}"/>
          </ac:spMkLst>
        </pc:spChg>
        <pc:spChg chg="mod">
          <ac:chgData name="Devraj, Keerthi (DI SW ICS DVT CSF DV FS)" userId="a61e6969-d85e-42d5-913e-c7fe6fb96353" providerId="ADAL" clId="{8D2B4F8B-645F-482E-A867-56D9A41DB3EB}" dt="2023-11-15T09:20:53.935" v="944"/>
          <ac:spMkLst>
            <pc:docMk/>
            <pc:sldMk cId="2743562955" sldId="1188"/>
            <ac:spMk id="76" creationId="{110200F5-F450-2791-320D-AFCED318DAB7}"/>
          </ac:spMkLst>
        </pc:spChg>
        <pc:spChg chg="mod">
          <ac:chgData name="Devraj, Keerthi (DI SW ICS DVT CSF DV FS)" userId="a61e6969-d85e-42d5-913e-c7fe6fb96353" providerId="ADAL" clId="{8D2B4F8B-645F-482E-A867-56D9A41DB3EB}" dt="2023-11-15T09:20:53.935" v="944"/>
          <ac:spMkLst>
            <pc:docMk/>
            <pc:sldMk cId="2743562955" sldId="1188"/>
            <ac:spMk id="84" creationId="{FECB84A1-8895-A259-BACD-DCB69DE17FB1}"/>
          </ac:spMkLst>
        </pc:spChg>
        <pc:spChg chg="mod">
          <ac:chgData name="Devraj, Keerthi (DI SW ICS DVT CSF DV FS)" userId="a61e6969-d85e-42d5-913e-c7fe6fb96353" providerId="ADAL" clId="{8D2B4F8B-645F-482E-A867-56D9A41DB3EB}" dt="2023-11-15T09:20:53.935" v="944"/>
          <ac:spMkLst>
            <pc:docMk/>
            <pc:sldMk cId="2743562955" sldId="1188"/>
            <ac:spMk id="85" creationId="{187EB093-3E20-B930-A93C-85A271EC67A3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22:13.518" v="951" actId="207"/>
          <ac:spMkLst>
            <pc:docMk/>
            <pc:sldMk cId="2743562955" sldId="1188"/>
            <ac:spMk id="86" creationId="{77045BC1-D116-2A65-C02E-EBF4F4771D3F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22:30.583" v="953" actId="208"/>
          <ac:spMkLst>
            <pc:docMk/>
            <pc:sldMk cId="2743562955" sldId="1188"/>
            <ac:spMk id="87" creationId="{FDD5F789-2319-3863-2833-DB9A7D3684F7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20:53.935" v="944"/>
          <ac:spMkLst>
            <pc:docMk/>
            <pc:sldMk cId="2743562955" sldId="1188"/>
            <ac:spMk id="88" creationId="{676F6340-03D3-0479-F834-9DC4FE252318}"/>
          </ac:spMkLst>
        </pc:spChg>
        <pc:spChg chg="mod">
          <ac:chgData name="Devraj, Keerthi (DI SW ICS DVT CSF DV FS)" userId="a61e6969-d85e-42d5-913e-c7fe6fb96353" providerId="ADAL" clId="{8D2B4F8B-645F-482E-A867-56D9A41DB3EB}" dt="2023-11-15T09:20:53.935" v="944"/>
          <ac:spMkLst>
            <pc:docMk/>
            <pc:sldMk cId="2743562955" sldId="1188"/>
            <ac:spMk id="90" creationId="{13E2E4ED-F17E-7547-46E9-B9A1313B5799}"/>
          </ac:spMkLst>
        </pc:spChg>
        <pc:spChg chg="mod">
          <ac:chgData name="Devraj, Keerthi (DI SW ICS DVT CSF DV FS)" userId="a61e6969-d85e-42d5-913e-c7fe6fb96353" providerId="ADAL" clId="{8D2B4F8B-645F-482E-A867-56D9A41DB3EB}" dt="2023-11-15T09:20:53.935" v="944"/>
          <ac:spMkLst>
            <pc:docMk/>
            <pc:sldMk cId="2743562955" sldId="1188"/>
            <ac:spMk id="92" creationId="{5C475544-BD6C-66C5-40D7-84EA22DF2B08}"/>
          </ac:spMkLst>
        </pc:spChg>
        <pc:spChg chg="mod">
          <ac:chgData name="Devraj, Keerthi (DI SW ICS DVT CSF DV FS)" userId="a61e6969-d85e-42d5-913e-c7fe6fb96353" providerId="ADAL" clId="{8D2B4F8B-645F-482E-A867-56D9A41DB3EB}" dt="2023-11-15T09:20:53.935" v="944"/>
          <ac:spMkLst>
            <pc:docMk/>
            <pc:sldMk cId="2743562955" sldId="1188"/>
            <ac:spMk id="93" creationId="{643B3C84-7000-C402-8A72-18601ACF3A36}"/>
          </ac:spMkLst>
        </pc:spChg>
        <pc:spChg chg="mod">
          <ac:chgData name="Devraj, Keerthi (DI SW ICS DVT CSF DV FS)" userId="a61e6969-d85e-42d5-913e-c7fe6fb96353" providerId="ADAL" clId="{8D2B4F8B-645F-482E-A867-56D9A41DB3EB}" dt="2023-11-15T09:20:53.935" v="944"/>
          <ac:spMkLst>
            <pc:docMk/>
            <pc:sldMk cId="2743562955" sldId="1188"/>
            <ac:spMk id="94" creationId="{7B6EE346-CA60-6851-E652-8DE929F19BC0}"/>
          </ac:spMkLst>
        </pc:spChg>
        <pc:spChg chg="mod">
          <ac:chgData name="Devraj, Keerthi (DI SW ICS DVT CSF DV FS)" userId="a61e6969-d85e-42d5-913e-c7fe6fb96353" providerId="ADAL" clId="{8D2B4F8B-645F-482E-A867-56D9A41DB3EB}" dt="2023-11-15T09:20:53.935" v="944"/>
          <ac:spMkLst>
            <pc:docMk/>
            <pc:sldMk cId="2743562955" sldId="1188"/>
            <ac:spMk id="102" creationId="{E9881A7E-616A-8BC6-AA3E-900737488CB4}"/>
          </ac:spMkLst>
        </pc:spChg>
        <pc:spChg chg="mod">
          <ac:chgData name="Devraj, Keerthi (DI SW ICS DVT CSF DV FS)" userId="a61e6969-d85e-42d5-913e-c7fe6fb96353" providerId="ADAL" clId="{8D2B4F8B-645F-482E-A867-56D9A41DB3EB}" dt="2023-11-15T09:20:53.935" v="944"/>
          <ac:spMkLst>
            <pc:docMk/>
            <pc:sldMk cId="2743562955" sldId="1188"/>
            <ac:spMk id="103" creationId="{AF06499C-FECE-7BE4-176A-244AAA23331B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43:07.485" v="1369"/>
          <ac:spMkLst>
            <pc:docMk/>
            <pc:sldMk cId="2743562955" sldId="1188"/>
            <ac:spMk id="105" creationId="{B7226C5E-9349-3154-B01D-0A680001CCFE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43:07.485" v="1369"/>
          <ac:spMkLst>
            <pc:docMk/>
            <pc:sldMk cId="2743562955" sldId="1188"/>
            <ac:spMk id="106" creationId="{0AA72A10-51FE-AF8C-BEAB-1DDFD6DAEA46}"/>
          </ac:spMkLst>
        </pc:spChg>
        <pc:grpChg chg="add mod">
          <ac:chgData name="Devraj, Keerthi (DI SW ICS DVT CSF DV FS)" userId="a61e6969-d85e-42d5-913e-c7fe6fb96353" providerId="ADAL" clId="{8D2B4F8B-645F-482E-A867-56D9A41DB3EB}" dt="2023-11-15T09:20:53.935" v="944"/>
          <ac:grpSpMkLst>
            <pc:docMk/>
            <pc:sldMk cId="2743562955" sldId="1188"/>
            <ac:grpSpMk id="9" creationId="{4DB1408E-22E5-90B9-8129-ED273F6BC6DE}"/>
          </ac:grpSpMkLst>
        </pc:grpChg>
        <pc:grpChg chg="add mod">
          <ac:chgData name="Devraj, Keerthi (DI SW ICS DVT CSF DV FS)" userId="a61e6969-d85e-42d5-913e-c7fe6fb96353" providerId="ADAL" clId="{8D2B4F8B-645F-482E-A867-56D9A41DB3EB}" dt="2023-11-15T09:20:53.935" v="944"/>
          <ac:grpSpMkLst>
            <pc:docMk/>
            <pc:sldMk cId="2743562955" sldId="1188"/>
            <ac:grpSpMk id="16" creationId="{8DFE768B-1B27-9933-84B9-075E012B19EC}"/>
          </ac:grpSpMkLst>
        </pc:grpChg>
        <pc:grpChg chg="add mod">
          <ac:chgData name="Devraj, Keerthi (DI SW ICS DVT CSF DV FS)" userId="a61e6969-d85e-42d5-913e-c7fe6fb96353" providerId="ADAL" clId="{8D2B4F8B-645F-482E-A867-56D9A41DB3EB}" dt="2023-11-15T09:20:53.935" v="944"/>
          <ac:grpSpMkLst>
            <pc:docMk/>
            <pc:sldMk cId="2743562955" sldId="1188"/>
            <ac:grpSpMk id="23" creationId="{89EF888B-DECA-17F7-28EB-88A37C4333EA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20:53.935" v="944"/>
          <ac:grpSpMkLst>
            <pc:docMk/>
            <pc:sldMk cId="2743562955" sldId="1188"/>
            <ac:grpSpMk id="25" creationId="{2B5F2AEC-1AEA-B167-FD52-4D5FFDA57CBB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20:53.935" v="944"/>
          <ac:grpSpMkLst>
            <pc:docMk/>
            <pc:sldMk cId="2743562955" sldId="1188"/>
            <ac:grpSpMk id="35" creationId="{DCB7AE24-02FF-42A9-35A7-37ECF9ED0D75}"/>
          </ac:grpSpMkLst>
        </pc:grpChg>
        <pc:grpChg chg="add mod">
          <ac:chgData name="Devraj, Keerthi (DI SW ICS DVT CSF DV FS)" userId="a61e6969-d85e-42d5-913e-c7fe6fb96353" providerId="ADAL" clId="{8D2B4F8B-645F-482E-A867-56D9A41DB3EB}" dt="2023-11-15T09:20:53.935" v="944"/>
          <ac:grpSpMkLst>
            <pc:docMk/>
            <pc:sldMk cId="2743562955" sldId="1188"/>
            <ac:grpSpMk id="38" creationId="{96554891-E85F-4B6A-7755-95A9707963AF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20:53.935" v="944"/>
          <ac:grpSpMkLst>
            <pc:docMk/>
            <pc:sldMk cId="2743562955" sldId="1188"/>
            <ac:grpSpMk id="40" creationId="{2E475170-D0DA-6A9D-F8C6-1AB4266A6920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20:53.935" v="944"/>
          <ac:grpSpMkLst>
            <pc:docMk/>
            <pc:sldMk cId="2743562955" sldId="1188"/>
            <ac:grpSpMk id="50" creationId="{1AA1F182-7678-D273-09B2-E7C7C636660F}"/>
          </ac:grpSpMkLst>
        </pc:grpChg>
        <pc:grpChg chg="add mod">
          <ac:chgData name="Devraj, Keerthi (DI SW ICS DVT CSF DV FS)" userId="a61e6969-d85e-42d5-913e-c7fe6fb96353" providerId="ADAL" clId="{8D2B4F8B-645F-482E-A867-56D9A41DB3EB}" dt="2023-11-15T09:20:53.935" v="944"/>
          <ac:grpSpMkLst>
            <pc:docMk/>
            <pc:sldMk cId="2743562955" sldId="1188"/>
            <ac:grpSpMk id="55" creationId="{D27F0E8B-DBBC-1CB3-C478-BEC172D441F6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20:53.935" v="944"/>
          <ac:grpSpMkLst>
            <pc:docMk/>
            <pc:sldMk cId="2743562955" sldId="1188"/>
            <ac:grpSpMk id="57" creationId="{178701F0-1E33-4A22-FE69-34D2F11EDBBA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20:53.935" v="944"/>
          <ac:grpSpMkLst>
            <pc:docMk/>
            <pc:sldMk cId="2743562955" sldId="1188"/>
            <ac:grpSpMk id="67" creationId="{4B0685E1-EE9A-A0DB-A748-DE6C5A1FD5B9}"/>
          </ac:grpSpMkLst>
        </pc:grpChg>
        <pc:grpChg chg="add mod">
          <ac:chgData name="Devraj, Keerthi (DI SW ICS DVT CSF DV FS)" userId="a61e6969-d85e-42d5-913e-c7fe6fb96353" providerId="ADAL" clId="{8D2B4F8B-645F-482E-A867-56D9A41DB3EB}" dt="2023-11-15T09:20:53.935" v="944"/>
          <ac:grpSpMkLst>
            <pc:docMk/>
            <pc:sldMk cId="2743562955" sldId="1188"/>
            <ac:grpSpMk id="71" creationId="{B311CB16-6394-3E9F-221B-CD8F6D95A015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20:53.935" v="944"/>
          <ac:grpSpMkLst>
            <pc:docMk/>
            <pc:sldMk cId="2743562955" sldId="1188"/>
            <ac:grpSpMk id="73" creationId="{00134590-7B3F-9C2B-819A-8423C8DB50A8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20:53.935" v="944"/>
          <ac:grpSpMkLst>
            <pc:docMk/>
            <pc:sldMk cId="2743562955" sldId="1188"/>
            <ac:grpSpMk id="83" creationId="{E374E377-E942-0D70-B895-6287599E4C78}"/>
          </ac:grpSpMkLst>
        </pc:grpChg>
        <pc:grpChg chg="add mod">
          <ac:chgData name="Devraj, Keerthi (DI SW ICS DVT CSF DV FS)" userId="a61e6969-d85e-42d5-913e-c7fe6fb96353" providerId="ADAL" clId="{8D2B4F8B-645F-482E-A867-56D9A41DB3EB}" dt="2023-11-15T09:20:53.935" v="944"/>
          <ac:grpSpMkLst>
            <pc:docMk/>
            <pc:sldMk cId="2743562955" sldId="1188"/>
            <ac:grpSpMk id="89" creationId="{83147597-03AC-DBE2-5B8A-B734B36B00B7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20:53.935" v="944"/>
          <ac:grpSpMkLst>
            <pc:docMk/>
            <pc:sldMk cId="2743562955" sldId="1188"/>
            <ac:grpSpMk id="91" creationId="{58585F78-4E6D-A3E1-917E-8E3011FA0D15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20:53.935" v="944"/>
          <ac:grpSpMkLst>
            <pc:docMk/>
            <pc:sldMk cId="2743562955" sldId="1188"/>
            <ac:grpSpMk id="101" creationId="{408998CB-2BAA-987F-5FEB-F17A2001222B}"/>
          </ac:grpSpMkLst>
        </pc:grpChg>
        <pc:cxnChg chg="mod">
          <ac:chgData name="Devraj, Keerthi (DI SW ICS DVT CSF DV FS)" userId="a61e6969-d85e-42d5-913e-c7fe6fb96353" providerId="ADAL" clId="{8D2B4F8B-645F-482E-A867-56D9A41DB3EB}" dt="2023-11-15T09:24:06.450" v="1046" actId="208"/>
          <ac:cxnSpMkLst>
            <pc:docMk/>
            <pc:sldMk cId="2743562955" sldId="1188"/>
            <ac:cxnSpMk id="10" creationId="{50455E3D-C6EA-B62B-980B-6BF73E577B29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06.450" v="1046" actId="208"/>
          <ac:cxnSpMkLst>
            <pc:docMk/>
            <pc:sldMk cId="2743562955" sldId="1188"/>
            <ac:cxnSpMk id="11" creationId="{DD59DAC5-9680-35F8-796D-A3B95E6B37C6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06.450" v="1046" actId="208"/>
          <ac:cxnSpMkLst>
            <pc:docMk/>
            <pc:sldMk cId="2743562955" sldId="1188"/>
            <ac:cxnSpMk id="12" creationId="{7027B9E3-FDD0-666A-D449-CAA943999F04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06.450" v="1046" actId="208"/>
          <ac:cxnSpMkLst>
            <pc:docMk/>
            <pc:sldMk cId="2743562955" sldId="1188"/>
            <ac:cxnSpMk id="13" creationId="{40C97A61-1D51-383C-5338-24A7E71FDE24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06.450" v="1046" actId="208"/>
          <ac:cxnSpMkLst>
            <pc:docMk/>
            <pc:sldMk cId="2743562955" sldId="1188"/>
            <ac:cxnSpMk id="14" creationId="{AF7AB3A7-7CA9-63E7-FFA6-12BCEE08E90D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06.450" v="1046" actId="208"/>
          <ac:cxnSpMkLst>
            <pc:docMk/>
            <pc:sldMk cId="2743562955" sldId="1188"/>
            <ac:cxnSpMk id="15" creationId="{F2C366C3-00C9-662B-AA1A-F3E33F38A4AD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04.519" v="1045" actId="208"/>
          <ac:cxnSpMkLst>
            <pc:docMk/>
            <pc:sldMk cId="2743562955" sldId="1188"/>
            <ac:cxnSpMk id="17" creationId="{EC036AB4-DDE0-C270-EDA6-F63D766640CE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04.519" v="1045" actId="208"/>
          <ac:cxnSpMkLst>
            <pc:docMk/>
            <pc:sldMk cId="2743562955" sldId="1188"/>
            <ac:cxnSpMk id="18" creationId="{6B9C327E-06A6-D1B5-499C-BC578E283CB8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04.519" v="1045" actId="208"/>
          <ac:cxnSpMkLst>
            <pc:docMk/>
            <pc:sldMk cId="2743562955" sldId="1188"/>
            <ac:cxnSpMk id="19" creationId="{41087BC6-1D63-963B-976B-12F47F40C2D5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04.519" v="1045" actId="208"/>
          <ac:cxnSpMkLst>
            <pc:docMk/>
            <pc:sldMk cId="2743562955" sldId="1188"/>
            <ac:cxnSpMk id="20" creationId="{613A421A-1B32-A522-3459-3DC0A3C0FFA9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04.519" v="1045" actId="208"/>
          <ac:cxnSpMkLst>
            <pc:docMk/>
            <pc:sldMk cId="2743562955" sldId="1188"/>
            <ac:cxnSpMk id="21" creationId="{FF55EF1D-2FC5-98F6-377A-7A25E16E5F05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04.519" v="1045" actId="208"/>
          <ac:cxnSpMkLst>
            <pc:docMk/>
            <pc:sldMk cId="2743562955" sldId="1188"/>
            <ac:cxnSpMk id="22" creationId="{86C5C93C-BB20-7B44-DD30-A095C5C1BA0A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0:53.935" v="944"/>
          <ac:cxnSpMkLst>
            <pc:docMk/>
            <pc:sldMk cId="2743562955" sldId="1188"/>
            <ac:cxnSpMk id="29" creationId="{9423E2B8-7C47-F201-8F79-C8E98DCC0077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0:53.935" v="944"/>
          <ac:cxnSpMkLst>
            <pc:docMk/>
            <pc:sldMk cId="2743562955" sldId="1188"/>
            <ac:cxnSpMk id="30" creationId="{8C1DB346-1E20-E9C3-10BF-F565CC1DCAD7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0:53.935" v="944"/>
          <ac:cxnSpMkLst>
            <pc:docMk/>
            <pc:sldMk cId="2743562955" sldId="1188"/>
            <ac:cxnSpMk id="31" creationId="{AA0F971C-32D2-BAFF-6E94-00FF80D17557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0:53.935" v="944"/>
          <ac:cxnSpMkLst>
            <pc:docMk/>
            <pc:sldMk cId="2743562955" sldId="1188"/>
            <ac:cxnSpMk id="32" creationId="{6AC5C82D-DB54-EDBB-BBE0-4E874A2F6B33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0:53.935" v="944"/>
          <ac:cxnSpMkLst>
            <pc:docMk/>
            <pc:sldMk cId="2743562955" sldId="1188"/>
            <ac:cxnSpMk id="33" creationId="{4CCC042E-8991-6909-5966-1C3E84D64A79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0:53.935" v="944"/>
          <ac:cxnSpMkLst>
            <pc:docMk/>
            <pc:sldMk cId="2743562955" sldId="1188"/>
            <ac:cxnSpMk id="34" creationId="{6BB8280F-13AA-57FE-2F42-C404AD15641A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0:53.935" v="944"/>
          <ac:cxnSpMkLst>
            <pc:docMk/>
            <pc:sldMk cId="2743562955" sldId="1188"/>
            <ac:cxnSpMk id="44" creationId="{5F3FF123-4E6F-24D3-9EB1-CAF236E604F2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0:53.935" v="944"/>
          <ac:cxnSpMkLst>
            <pc:docMk/>
            <pc:sldMk cId="2743562955" sldId="1188"/>
            <ac:cxnSpMk id="45" creationId="{965D56AB-847F-8BDE-7929-A1B06CB24641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0:53.935" v="944"/>
          <ac:cxnSpMkLst>
            <pc:docMk/>
            <pc:sldMk cId="2743562955" sldId="1188"/>
            <ac:cxnSpMk id="46" creationId="{6DD56DDB-27EF-33D3-FAF0-9BD6E9583D3A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0:53.935" v="944"/>
          <ac:cxnSpMkLst>
            <pc:docMk/>
            <pc:sldMk cId="2743562955" sldId="1188"/>
            <ac:cxnSpMk id="47" creationId="{D75B1FF4-A810-93EA-EDC7-F4F27799DE79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0:53.935" v="944"/>
          <ac:cxnSpMkLst>
            <pc:docMk/>
            <pc:sldMk cId="2743562955" sldId="1188"/>
            <ac:cxnSpMk id="48" creationId="{3E80EAA7-CA3D-5AB5-3789-A64E0CFF0029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0:53.935" v="944"/>
          <ac:cxnSpMkLst>
            <pc:docMk/>
            <pc:sldMk cId="2743562955" sldId="1188"/>
            <ac:cxnSpMk id="49" creationId="{A86472FA-4201-C41A-C2F9-D70F4C7C3711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0:53.935" v="944"/>
          <ac:cxnSpMkLst>
            <pc:docMk/>
            <pc:sldMk cId="2743562955" sldId="1188"/>
            <ac:cxnSpMk id="61" creationId="{05A3228B-9401-4801-B63F-4142E62AAD67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0:53.935" v="944"/>
          <ac:cxnSpMkLst>
            <pc:docMk/>
            <pc:sldMk cId="2743562955" sldId="1188"/>
            <ac:cxnSpMk id="62" creationId="{3A0CE9F7-A8F3-B4B7-7BEA-D2243112CFA6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0:53.935" v="944"/>
          <ac:cxnSpMkLst>
            <pc:docMk/>
            <pc:sldMk cId="2743562955" sldId="1188"/>
            <ac:cxnSpMk id="63" creationId="{97250C4D-B8FE-F1D9-3EDC-63F12AAAF957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0:53.935" v="944"/>
          <ac:cxnSpMkLst>
            <pc:docMk/>
            <pc:sldMk cId="2743562955" sldId="1188"/>
            <ac:cxnSpMk id="64" creationId="{2611F6A6-22AC-16CA-2A25-F30C7FF3E502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0:53.935" v="944"/>
          <ac:cxnSpMkLst>
            <pc:docMk/>
            <pc:sldMk cId="2743562955" sldId="1188"/>
            <ac:cxnSpMk id="65" creationId="{CFCCB9D5-3F16-6BDB-2E10-24D7A8F8BC3A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0:53.935" v="944"/>
          <ac:cxnSpMkLst>
            <pc:docMk/>
            <pc:sldMk cId="2743562955" sldId="1188"/>
            <ac:cxnSpMk id="66" creationId="{A27638F2-8990-52CB-558B-0CC72BA72545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0:53.935" v="944"/>
          <ac:cxnSpMkLst>
            <pc:docMk/>
            <pc:sldMk cId="2743562955" sldId="1188"/>
            <ac:cxnSpMk id="77" creationId="{E52E4536-A5F0-495A-7D3F-5840043310AE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0:53.935" v="944"/>
          <ac:cxnSpMkLst>
            <pc:docMk/>
            <pc:sldMk cId="2743562955" sldId="1188"/>
            <ac:cxnSpMk id="78" creationId="{97CE6218-9EBD-66FA-85EB-FCE770587675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0:53.935" v="944"/>
          <ac:cxnSpMkLst>
            <pc:docMk/>
            <pc:sldMk cId="2743562955" sldId="1188"/>
            <ac:cxnSpMk id="79" creationId="{1E00EDC7-6AD2-7146-03EB-6C23CEC3FFC9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0:53.935" v="944"/>
          <ac:cxnSpMkLst>
            <pc:docMk/>
            <pc:sldMk cId="2743562955" sldId="1188"/>
            <ac:cxnSpMk id="80" creationId="{D2F63247-65DD-8AC3-E0D1-A211B2FCACE5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0:53.935" v="944"/>
          <ac:cxnSpMkLst>
            <pc:docMk/>
            <pc:sldMk cId="2743562955" sldId="1188"/>
            <ac:cxnSpMk id="81" creationId="{CC40E085-5BA1-68BC-D8C5-A4EAAD7F1116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0:53.935" v="944"/>
          <ac:cxnSpMkLst>
            <pc:docMk/>
            <pc:sldMk cId="2743562955" sldId="1188"/>
            <ac:cxnSpMk id="82" creationId="{7B6E756B-E2E3-624A-4909-670803DF96E2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0:53.935" v="944"/>
          <ac:cxnSpMkLst>
            <pc:docMk/>
            <pc:sldMk cId="2743562955" sldId="1188"/>
            <ac:cxnSpMk id="95" creationId="{248CC563-D0A5-DBD7-0FA6-3B4F4C136A80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0:53.935" v="944"/>
          <ac:cxnSpMkLst>
            <pc:docMk/>
            <pc:sldMk cId="2743562955" sldId="1188"/>
            <ac:cxnSpMk id="96" creationId="{B77A7C9A-C18A-FDC8-114F-4AC64B7FC05A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0:53.935" v="944"/>
          <ac:cxnSpMkLst>
            <pc:docMk/>
            <pc:sldMk cId="2743562955" sldId="1188"/>
            <ac:cxnSpMk id="97" creationId="{78D7CADE-E972-0D61-D85A-B46CAA45BA2B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0:53.935" v="944"/>
          <ac:cxnSpMkLst>
            <pc:docMk/>
            <pc:sldMk cId="2743562955" sldId="1188"/>
            <ac:cxnSpMk id="98" creationId="{0880A9BB-88CF-DE6A-4885-6343624DBD4A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0:53.935" v="944"/>
          <ac:cxnSpMkLst>
            <pc:docMk/>
            <pc:sldMk cId="2743562955" sldId="1188"/>
            <ac:cxnSpMk id="99" creationId="{F410C79B-C764-0575-B3D0-D8337F4F7251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0:53.935" v="944"/>
          <ac:cxnSpMkLst>
            <pc:docMk/>
            <pc:sldMk cId="2743562955" sldId="1188"/>
            <ac:cxnSpMk id="100" creationId="{967DBF6B-A3D2-CBFD-F86D-2B4D4B0AAEF2}"/>
          </ac:cxnSpMkLst>
        </pc:cxnChg>
        <pc:cxnChg chg="add mod">
          <ac:chgData name="Devraj, Keerthi (DI SW ICS DVT CSF DV FS)" userId="a61e6969-d85e-42d5-913e-c7fe6fb96353" providerId="ADAL" clId="{8D2B4F8B-645F-482E-A867-56D9A41DB3EB}" dt="2023-11-15T09:20:53.935" v="944"/>
          <ac:cxnSpMkLst>
            <pc:docMk/>
            <pc:sldMk cId="2743562955" sldId="1188"/>
            <ac:cxnSpMk id="104" creationId="{76575DC5-EB38-5F25-2F6C-D21E3BA11DF2}"/>
          </ac:cxnSpMkLst>
        </pc:cxnChg>
      </pc:sldChg>
      <pc:sldChg chg="add del">
        <pc:chgData name="Devraj, Keerthi (DI SW ICS DVT CSF DV FS)" userId="a61e6969-d85e-42d5-913e-c7fe6fb96353" providerId="ADAL" clId="{8D2B4F8B-645F-482E-A867-56D9A41DB3EB}" dt="2023-11-15T09:20:50.921" v="942" actId="47"/>
        <pc:sldMkLst>
          <pc:docMk/>
          <pc:sldMk cId="462723369" sldId="1189"/>
        </pc:sldMkLst>
      </pc:sldChg>
      <pc:sldChg chg="addSp delSp modSp add mod">
        <pc:chgData name="Devraj, Keerthi (DI SW ICS DVT CSF DV FS)" userId="a61e6969-d85e-42d5-913e-c7fe6fb96353" providerId="ADAL" clId="{8D2B4F8B-645F-482E-A867-56D9A41DB3EB}" dt="2023-11-15T10:38:37.455" v="1964" actId="208"/>
        <pc:sldMkLst>
          <pc:docMk/>
          <pc:sldMk cId="4184487954" sldId="1190"/>
        </pc:sldMkLst>
        <pc:spChg chg="mod">
          <ac:chgData name="Devraj, Keerthi (DI SW ICS DVT CSF DV FS)" userId="a61e6969-d85e-42d5-913e-c7fe6fb96353" providerId="ADAL" clId="{8D2B4F8B-645F-482E-A867-56D9A41DB3EB}" dt="2023-11-15T09:45:45.393" v="1412"/>
          <ac:spMkLst>
            <pc:docMk/>
            <pc:sldMk cId="4184487954" sldId="1190"/>
            <ac:spMk id="2" creationId="{30A59CE0-18CE-9447-F486-84039784745F}"/>
          </ac:spMkLst>
        </pc:spChg>
        <pc:spChg chg="add del mod">
          <ac:chgData name="Devraj, Keerthi (DI SW ICS DVT CSF DV FS)" userId="a61e6969-d85e-42d5-913e-c7fe6fb96353" providerId="ADAL" clId="{8D2B4F8B-645F-482E-A867-56D9A41DB3EB}" dt="2023-11-15T10:38:37.455" v="1964" actId="208"/>
          <ac:spMkLst>
            <pc:docMk/>
            <pc:sldMk cId="4184487954" sldId="1190"/>
            <ac:spMk id="4" creationId="{CBD9F5CA-4FC6-A11C-2B20-288D1A2CE87C}"/>
          </ac:spMkLst>
        </pc:spChg>
        <pc:spChg chg="add del mod">
          <ac:chgData name="Devraj, Keerthi (DI SW ICS DVT CSF DV FS)" userId="a61e6969-d85e-42d5-913e-c7fe6fb96353" providerId="ADAL" clId="{8D2B4F8B-645F-482E-A867-56D9A41DB3EB}" dt="2023-11-15T09:47:02.215" v="1419" actId="207"/>
          <ac:spMkLst>
            <pc:docMk/>
            <pc:sldMk cId="4184487954" sldId="1190"/>
            <ac:spMk id="5" creationId="{AE6F08F5-9F79-CD2D-54F8-7C960EBA8C1C}"/>
          </ac:spMkLst>
        </pc:spChg>
        <pc:spChg chg="add del mod">
          <ac:chgData name="Devraj, Keerthi (DI SW ICS DVT CSF DV FS)" userId="a61e6969-d85e-42d5-913e-c7fe6fb96353" providerId="ADAL" clId="{8D2B4F8B-645F-482E-A867-56D9A41DB3EB}" dt="2023-11-15T09:46:31.107" v="1417" actId="207"/>
          <ac:spMkLst>
            <pc:docMk/>
            <pc:sldMk cId="4184487954" sldId="1190"/>
            <ac:spMk id="6" creationId="{F57FFEE6-18C1-B468-6C27-C6EB079EDE12}"/>
          </ac:spMkLst>
        </pc:spChg>
        <pc:spChg chg="add del mod">
          <ac:chgData name="Devraj, Keerthi (DI SW ICS DVT CSF DV FS)" userId="a61e6969-d85e-42d5-913e-c7fe6fb96353" providerId="ADAL" clId="{8D2B4F8B-645F-482E-A867-56D9A41DB3EB}" dt="2023-11-15T09:47:15.037" v="1420" actId="12"/>
          <ac:spMkLst>
            <pc:docMk/>
            <pc:sldMk cId="4184487954" sldId="1190"/>
            <ac:spMk id="7" creationId="{1E7BE237-21BC-0E09-FEC5-C401472F44CB}"/>
          </ac:spMkLst>
        </pc:spChg>
      </pc:sldChg>
      <pc:sldChg chg="addSp delSp modSp add mod">
        <pc:chgData name="Devraj, Keerthi (DI SW ICS DVT CSF DV FS)" userId="a61e6969-d85e-42d5-913e-c7fe6fb96353" providerId="ADAL" clId="{8D2B4F8B-645F-482E-A867-56D9A41DB3EB}" dt="2023-11-15T12:51:20.023" v="2765" actId="5793"/>
        <pc:sldMkLst>
          <pc:docMk/>
          <pc:sldMk cId="1935986274" sldId="1191"/>
        </pc:sldMkLst>
        <pc:spChg chg="del mod">
          <ac:chgData name="Devraj, Keerthi (DI SW ICS DVT CSF DV FS)" userId="a61e6969-d85e-42d5-913e-c7fe6fb96353" providerId="ADAL" clId="{8D2B4F8B-645F-482E-A867-56D9A41DB3EB}" dt="2023-11-15T09:53:27.732" v="1448" actId="478"/>
          <ac:spMkLst>
            <pc:docMk/>
            <pc:sldMk cId="1935986274" sldId="1191"/>
            <ac:spMk id="2" creationId="{30A59CE0-18CE-9447-F486-84039784745F}"/>
          </ac:spMkLst>
        </pc:spChg>
        <pc:spChg chg="add del mod">
          <ac:chgData name="Devraj, Keerthi (DI SW ICS DVT CSF DV FS)" userId="a61e6969-d85e-42d5-913e-c7fe6fb96353" providerId="ADAL" clId="{8D2B4F8B-645F-482E-A867-56D9A41DB3EB}" dt="2023-11-15T09:51:50.473" v="1422" actId="478"/>
          <ac:spMkLst>
            <pc:docMk/>
            <pc:sldMk cId="1935986274" sldId="1191"/>
            <ac:spMk id="4" creationId="{3F37E1B4-5AF0-E972-A1F6-3EAC4C9573B4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53:52.998" v="1450" actId="404"/>
          <ac:spMkLst>
            <pc:docMk/>
            <pc:sldMk cId="1935986274" sldId="1191"/>
            <ac:spMk id="5" creationId="{EBA48031-2E40-656E-AACD-45B10E861454}"/>
          </ac:spMkLst>
        </pc:spChg>
        <pc:spChg chg="add del mod">
          <ac:chgData name="Devraj, Keerthi (DI SW ICS DVT CSF DV FS)" userId="a61e6969-d85e-42d5-913e-c7fe6fb96353" providerId="ADAL" clId="{8D2B4F8B-645F-482E-A867-56D9A41DB3EB}" dt="2023-11-15T09:51:50.473" v="1422" actId="478"/>
          <ac:spMkLst>
            <pc:docMk/>
            <pc:sldMk cId="1935986274" sldId="1191"/>
            <ac:spMk id="6" creationId="{D165BC73-DD22-2E65-240F-85F55F581FEC}"/>
          </ac:spMkLst>
        </pc:spChg>
        <pc:spChg chg="add del mod">
          <ac:chgData name="Devraj, Keerthi (DI SW ICS DVT CSF DV FS)" userId="a61e6969-d85e-42d5-913e-c7fe6fb96353" providerId="ADAL" clId="{8D2B4F8B-645F-482E-A867-56D9A41DB3EB}" dt="2023-11-15T09:51:50.473" v="1422" actId="478"/>
          <ac:spMkLst>
            <pc:docMk/>
            <pc:sldMk cId="1935986274" sldId="1191"/>
            <ac:spMk id="7" creationId="{A8474036-65AE-30B8-5699-37428FEE3E02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38:50.088" v="1965" actId="208"/>
          <ac:spMkLst>
            <pc:docMk/>
            <pc:sldMk cId="1935986274" sldId="1191"/>
            <ac:spMk id="8" creationId="{E7D5B3FD-7322-9AB2-D172-254351E4A688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47:32.054" v="1421"/>
          <ac:spMkLst>
            <pc:docMk/>
            <pc:sldMk cId="1935986274" sldId="1191"/>
            <ac:spMk id="9" creationId="{2A6A0004-D07A-8BA3-D20F-A3DB848BDBA7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54:03.328" v="1452" actId="207"/>
          <ac:spMkLst>
            <pc:docMk/>
            <pc:sldMk cId="1935986274" sldId="1191"/>
            <ac:spMk id="10" creationId="{C26B4B62-C7E1-E96A-73B6-254B015A1534}"/>
          </ac:spMkLst>
        </pc:spChg>
        <pc:spChg chg="add mod">
          <ac:chgData name="Devraj, Keerthi (DI SW ICS DVT CSF DV FS)" userId="a61e6969-d85e-42d5-913e-c7fe6fb96353" providerId="ADAL" clId="{8D2B4F8B-645F-482E-A867-56D9A41DB3EB}" dt="2023-11-15T12:51:20.023" v="2765" actId="5793"/>
          <ac:spMkLst>
            <pc:docMk/>
            <pc:sldMk cId="1935986274" sldId="1191"/>
            <ac:spMk id="11" creationId="{5270BB21-4DFB-8B39-7FA6-5F9974946F13}"/>
          </ac:spMkLst>
        </pc:spChg>
        <pc:spChg chg="mod">
          <ac:chgData name="Devraj, Keerthi (DI SW ICS DVT CSF DV FS)" userId="a61e6969-d85e-42d5-913e-c7fe6fb96353" providerId="ADAL" clId="{8D2B4F8B-645F-482E-A867-56D9A41DB3EB}" dt="2023-11-15T09:47:32.054" v="1421"/>
          <ac:spMkLst>
            <pc:docMk/>
            <pc:sldMk cId="1935986274" sldId="1191"/>
            <ac:spMk id="13" creationId="{46A5B6B8-B81F-941F-6E89-70881AF2AEFE}"/>
          </ac:spMkLst>
        </pc:spChg>
        <pc:spChg chg="mod">
          <ac:chgData name="Devraj, Keerthi (DI SW ICS DVT CSF DV FS)" userId="a61e6969-d85e-42d5-913e-c7fe6fb96353" providerId="ADAL" clId="{8D2B4F8B-645F-482E-A867-56D9A41DB3EB}" dt="2023-11-15T09:47:32.054" v="1421"/>
          <ac:spMkLst>
            <pc:docMk/>
            <pc:sldMk cId="1935986274" sldId="1191"/>
            <ac:spMk id="14" creationId="{BA84172C-C4DD-0820-38A5-4335BF2A98D4}"/>
          </ac:spMkLst>
        </pc:spChg>
        <pc:spChg chg="mod">
          <ac:chgData name="Devraj, Keerthi (DI SW ICS DVT CSF DV FS)" userId="a61e6969-d85e-42d5-913e-c7fe6fb96353" providerId="ADAL" clId="{8D2B4F8B-645F-482E-A867-56D9A41DB3EB}" dt="2023-11-15T09:47:32.054" v="1421"/>
          <ac:spMkLst>
            <pc:docMk/>
            <pc:sldMk cId="1935986274" sldId="1191"/>
            <ac:spMk id="15" creationId="{3B1585A5-7B26-5031-469D-8F2E24ACD8FC}"/>
          </ac:spMkLst>
        </pc:spChg>
        <pc:spChg chg="mod">
          <ac:chgData name="Devraj, Keerthi (DI SW ICS DVT CSF DV FS)" userId="a61e6969-d85e-42d5-913e-c7fe6fb96353" providerId="ADAL" clId="{8D2B4F8B-645F-482E-A867-56D9A41DB3EB}" dt="2023-11-15T09:47:32.054" v="1421"/>
          <ac:spMkLst>
            <pc:docMk/>
            <pc:sldMk cId="1935986274" sldId="1191"/>
            <ac:spMk id="20" creationId="{1A97FA7B-5815-4C97-00B7-F36250E07619}"/>
          </ac:spMkLst>
        </pc:spChg>
        <pc:spChg chg="mod">
          <ac:chgData name="Devraj, Keerthi (DI SW ICS DVT CSF DV FS)" userId="a61e6969-d85e-42d5-913e-c7fe6fb96353" providerId="ADAL" clId="{8D2B4F8B-645F-482E-A867-56D9A41DB3EB}" dt="2023-11-15T09:47:32.054" v="1421"/>
          <ac:spMkLst>
            <pc:docMk/>
            <pc:sldMk cId="1935986274" sldId="1191"/>
            <ac:spMk id="21" creationId="{D77454F6-1236-BA04-8FD7-1227A18C0176}"/>
          </ac:spMkLst>
        </pc:spChg>
        <pc:spChg chg="mod">
          <ac:chgData name="Devraj, Keerthi (DI SW ICS DVT CSF DV FS)" userId="a61e6969-d85e-42d5-913e-c7fe6fb96353" providerId="ADAL" clId="{8D2B4F8B-645F-482E-A867-56D9A41DB3EB}" dt="2023-11-15T09:47:32.054" v="1421"/>
          <ac:spMkLst>
            <pc:docMk/>
            <pc:sldMk cId="1935986274" sldId="1191"/>
            <ac:spMk id="23" creationId="{0D30535F-1518-61BB-7DA3-E55F69FF7164}"/>
          </ac:spMkLst>
        </pc:spChg>
        <pc:spChg chg="mod">
          <ac:chgData name="Devraj, Keerthi (DI SW ICS DVT CSF DV FS)" userId="a61e6969-d85e-42d5-913e-c7fe6fb96353" providerId="ADAL" clId="{8D2B4F8B-645F-482E-A867-56D9A41DB3EB}" dt="2023-11-15T09:47:32.054" v="1421"/>
          <ac:spMkLst>
            <pc:docMk/>
            <pc:sldMk cId="1935986274" sldId="1191"/>
            <ac:spMk id="25" creationId="{9040ABF6-4265-F551-9BC0-82903057A913}"/>
          </ac:spMkLst>
        </pc:spChg>
        <pc:spChg chg="mod">
          <ac:chgData name="Devraj, Keerthi (DI SW ICS DVT CSF DV FS)" userId="a61e6969-d85e-42d5-913e-c7fe6fb96353" providerId="ADAL" clId="{8D2B4F8B-645F-482E-A867-56D9A41DB3EB}" dt="2023-11-15T09:47:32.054" v="1421"/>
          <ac:spMkLst>
            <pc:docMk/>
            <pc:sldMk cId="1935986274" sldId="1191"/>
            <ac:spMk id="26" creationId="{809B2191-4FBD-3EAA-8914-5B774D3747F0}"/>
          </ac:spMkLst>
        </pc:spChg>
        <pc:spChg chg="mod">
          <ac:chgData name="Devraj, Keerthi (DI SW ICS DVT CSF DV FS)" userId="a61e6969-d85e-42d5-913e-c7fe6fb96353" providerId="ADAL" clId="{8D2B4F8B-645F-482E-A867-56D9A41DB3EB}" dt="2023-11-15T09:47:32.054" v="1421"/>
          <ac:spMkLst>
            <pc:docMk/>
            <pc:sldMk cId="1935986274" sldId="1191"/>
            <ac:spMk id="27" creationId="{3A851B2D-5280-9F76-32F8-C9D31ECAB533}"/>
          </ac:spMkLst>
        </pc:spChg>
        <pc:spChg chg="mod">
          <ac:chgData name="Devraj, Keerthi (DI SW ICS DVT CSF DV FS)" userId="a61e6969-d85e-42d5-913e-c7fe6fb96353" providerId="ADAL" clId="{8D2B4F8B-645F-482E-A867-56D9A41DB3EB}" dt="2023-11-15T09:47:32.054" v="1421"/>
          <ac:spMkLst>
            <pc:docMk/>
            <pc:sldMk cId="1935986274" sldId="1191"/>
            <ac:spMk id="30" creationId="{B6F3AE00-003C-018C-37DC-E48ED9A40B10}"/>
          </ac:spMkLst>
        </pc:spChg>
        <pc:spChg chg="mod">
          <ac:chgData name="Devraj, Keerthi (DI SW ICS DVT CSF DV FS)" userId="a61e6969-d85e-42d5-913e-c7fe6fb96353" providerId="ADAL" clId="{8D2B4F8B-645F-482E-A867-56D9A41DB3EB}" dt="2023-11-15T09:47:32.054" v="1421"/>
          <ac:spMkLst>
            <pc:docMk/>
            <pc:sldMk cId="1935986274" sldId="1191"/>
            <ac:spMk id="32" creationId="{B480E217-2809-57F8-5DB7-67A40B2AE462}"/>
          </ac:spMkLst>
        </pc:spChg>
        <pc:spChg chg="mod">
          <ac:chgData name="Devraj, Keerthi (DI SW ICS DVT CSF DV FS)" userId="a61e6969-d85e-42d5-913e-c7fe6fb96353" providerId="ADAL" clId="{8D2B4F8B-645F-482E-A867-56D9A41DB3EB}" dt="2023-11-15T09:47:32.054" v="1421"/>
          <ac:spMkLst>
            <pc:docMk/>
            <pc:sldMk cId="1935986274" sldId="1191"/>
            <ac:spMk id="33" creationId="{2B3B070C-641C-F046-AF70-0DC4763D541E}"/>
          </ac:spMkLst>
        </pc:spChg>
        <pc:spChg chg="mod">
          <ac:chgData name="Devraj, Keerthi (DI SW ICS DVT CSF DV FS)" userId="a61e6969-d85e-42d5-913e-c7fe6fb96353" providerId="ADAL" clId="{8D2B4F8B-645F-482E-A867-56D9A41DB3EB}" dt="2023-11-15T09:47:32.054" v="1421"/>
          <ac:spMkLst>
            <pc:docMk/>
            <pc:sldMk cId="1935986274" sldId="1191"/>
            <ac:spMk id="34" creationId="{793CFB78-478C-4824-7C72-B59691B27851}"/>
          </ac:spMkLst>
        </pc:spChg>
        <pc:spChg chg="mod">
          <ac:chgData name="Devraj, Keerthi (DI SW ICS DVT CSF DV FS)" userId="a61e6969-d85e-42d5-913e-c7fe6fb96353" providerId="ADAL" clId="{8D2B4F8B-645F-482E-A867-56D9A41DB3EB}" dt="2023-11-15T09:47:32.054" v="1421"/>
          <ac:spMkLst>
            <pc:docMk/>
            <pc:sldMk cId="1935986274" sldId="1191"/>
            <ac:spMk id="42" creationId="{8DAE4B83-0005-8139-F729-4521471C65A4}"/>
          </ac:spMkLst>
        </pc:spChg>
        <pc:spChg chg="mod">
          <ac:chgData name="Devraj, Keerthi (DI SW ICS DVT CSF DV FS)" userId="a61e6969-d85e-42d5-913e-c7fe6fb96353" providerId="ADAL" clId="{8D2B4F8B-645F-482E-A867-56D9A41DB3EB}" dt="2023-11-15T09:47:32.054" v="1421"/>
          <ac:spMkLst>
            <pc:docMk/>
            <pc:sldMk cId="1935986274" sldId="1191"/>
            <ac:spMk id="43" creationId="{563B15D8-F313-FB40-50CC-A35FC253AB10}"/>
          </ac:spMkLst>
        </pc:spChg>
        <pc:spChg chg="mod">
          <ac:chgData name="Devraj, Keerthi (DI SW ICS DVT CSF DV FS)" userId="a61e6969-d85e-42d5-913e-c7fe6fb96353" providerId="ADAL" clId="{8D2B4F8B-645F-482E-A867-56D9A41DB3EB}" dt="2023-11-15T09:47:32.054" v="1421"/>
          <ac:spMkLst>
            <pc:docMk/>
            <pc:sldMk cId="1935986274" sldId="1191"/>
            <ac:spMk id="44" creationId="{42887F24-1A74-A85A-F260-61DDB23FDEE9}"/>
          </ac:spMkLst>
        </pc:spChg>
        <pc:spChg chg="mod">
          <ac:chgData name="Devraj, Keerthi (DI SW ICS DVT CSF DV FS)" userId="a61e6969-d85e-42d5-913e-c7fe6fb96353" providerId="ADAL" clId="{8D2B4F8B-645F-482E-A867-56D9A41DB3EB}" dt="2023-11-15T09:47:32.054" v="1421"/>
          <ac:spMkLst>
            <pc:docMk/>
            <pc:sldMk cId="1935986274" sldId="1191"/>
            <ac:spMk id="46" creationId="{E6EAF436-B371-B221-F74B-E187D2539A77}"/>
          </ac:spMkLst>
        </pc:spChg>
        <pc:spChg chg="mod">
          <ac:chgData name="Devraj, Keerthi (DI SW ICS DVT CSF DV FS)" userId="a61e6969-d85e-42d5-913e-c7fe6fb96353" providerId="ADAL" clId="{8D2B4F8B-645F-482E-A867-56D9A41DB3EB}" dt="2023-11-15T09:47:32.054" v="1421"/>
          <ac:spMkLst>
            <pc:docMk/>
            <pc:sldMk cId="1935986274" sldId="1191"/>
            <ac:spMk id="47" creationId="{77868A6F-6B99-866C-C379-343538884A86}"/>
          </ac:spMkLst>
        </pc:spChg>
        <pc:spChg chg="mod">
          <ac:chgData name="Devraj, Keerthi (DI SW ICS DVT CSF DV FS)" userId="a61e6969-d85e-42d5-913e-c7fe6fb96353" providerId="ADAL" clId="{8D2B4F8B-645F-482E-A867-56D9A41DB3EB}" dt="2023-11-15T09:47:32.054" v="1421"/>
          <ac:spMkLst>
            <pc:docMk/>
            <pc:sldMk cId="1935986274" sldId="1191"/>
            <ac:spMk id="48" creationId="{6CF32799-3910-FAF0-1FA2-AAE62B2EA36F}"/>
          </ac:spMkLst>
        </pc:spChg>
        <pc:spChg chg="mod">
          <ac:chgData name="Devraj, Keerthi (DI SW ICS DVT CSF DV FS)" userId="a61e6969-d85e-42d5-913e-c7fe6fb96353" providerId="ADAL" clId="{8D2B4F8B-645F-482E-A867-56D9A41DB3EB}" dt="2023-11-15T09:47:32.054" v="1421"/>
          <ac:spMkLst>
            <pc:docMk/>
            <pc:sldMk cId="1935986274" sldId="1191"/>
            <ac:spMk id="56" creationId="{F17A6670-B06E-A1FF-354A-CA94CDAA18C0}"/>
          </ac:spMkLst>
        </pc:spChg>
        <pc:spChg chg="mod">
          <ac:chgData name="Devraj, Keerthi (DI SW ICS DVT CSF DV FS)" userId="a61e6969-d85e-42d5-913e-c7fe6fb96353" providerId="ADAL" clId="{8D2B4F8B-645F-482E-A867-56D9A41DB3EB}" dt="2023-11-15T09:47:32.054" v="1421"/>
          <ac:spMkLst>
            <pc:docMk/>
            <pc:sldMk cId="1935986274" sldId="1191"/>
            <ac:spMk id="57" creationId="{4DC4F33C-1CC8-90D3-1061-8848820CB9B8}"/>
          </ac:spMkLst>
        </pc:spChg>
        <pc:spChg chg="mod">
          <ac:chgData name="Devraj, Keerthi (DI SW ICS DVT CSF DV FS)" userId="a61e6969-d85e-42d5-913e-c7fe6fb96353" providerId="ADAL" clId="{8D2B4F8B-645F-482E-A867-56D9A41DB3EB}" dt="2023-11-15T09:47:32.054" v="1421"/>
          <ac:spMkLst>
            <pc:docMk/>
            <pc:sldMk cId="1935986274" sldId="1191"/>
            <ac:spMk id="58" creationId="{66736789-08BB-5302-7AF9-31044B3C8974}"/>
          </ac:spMkLst>
        </pc:spChg>
        <pc:spChg chg="mod">
          <ac:chgData name="Devraj, Keerthi (DI SW ICS DVT CSF DV FS)" userId="a61e6969-d85e-42d5-913e-c7fe6fb96353" providerId="ADAL" clId="{8D2B4F8B-645F-482E-A867-56D9A41DB3EB}" dt="2023-11-15T09:47:32.054" v="1421"/>
          <ac:spMkLst>
            <pc:docMk/>
            <pc:sldMk cId="1935986274" sldId="1191"/>
            <ac:spMk id="60" creationId="{D12EAA94-F95A-846C-024F-876D5704AFDA}"/>
          </ac:spMkLst>
        </pc:spChg>
        <pc:spChg chg="mod">
          <ac:chgData name="Devraj, Keerthi (DI SW ICS DVT CSF DV FS)" userId="a61e6969-d85e-42d5-913e-c7fe6fb96353" providerId="ADAL" clId="{8D2B4F8B-645F-482E-A867-56D9A41DB3EB}" dt="2023-11-15T09:47:32.054" v="1421"/>
          <ac:spMkLst>
            <pc:docMk/>
            <pc:sldMk cId="1935986274" sldId="1191"/>
            <ac:spMk id="61" creationId="{BD734D96-BEF4-A6E1-55DF-98E33F1EE0ED}"/>
          </ac:spMkLst>
        </pc:spChg>
        <pc:spChg chg="mod">
          <ac:chgData name="Devraj, Keerthi (DI SW ICS DVT CSF DV FS)" userId="a61e6969-d85e-42d5-913e-c7fe6fb96353" providerId="ADAL" clId="{8D2B4F8B-645F-482E-A867-56D9A41DB3EB}" dt="2023-11-15T09:47:32.054" v="1421"/>
          <ac:spMkLst>
            <pc:docMk/>
            <pc:sldMk cId="1935986274" sldId="1191"/>
            <ac:spMk id="62" creationId="{D396D1E4-B95B-D332-9FED-E97738457CFB}"/>
          </ac:spMkLst>
        </pc:spChg>
        <pc:spChg chg="mod">
          <ac:chgData name="Devraj, Keerthi (DI SW ICS DVT CSF DV FS)" userId="a61e6969-d85e-42d5-913e-c7fe6fb96353" providerId="ADAL" clId="{8D2B4F8B-645F-482E-A867-56D9A41DB3EB}" dt="2023-11-15T09:47:32.054" v="1421"/>
          <ac:spMkLst>
            <pc:docMk/>
            <pc:sldMk cId="1935986274" sldId="1191"/>
            <ac:spMk id="70" creationId="{993CD5C3-8333-36CB-7C4A-A422367E8C62}"/>
          </ac:spMkLst>
        </pc:spChg>
        <pc:spChg chg="mod">
          <ac:chgData name="Devraj, Keerthi (DI SW ICS DVT CSF DV FS)" userId="a61e6969-d85e-42d5-913e-c7fe6fb96353" providerId="ADAL" clId="{8D2B4F8B-645F-482E-A867-56D9A41DB3EB}" dt="2023-11-15T09:47:32.054" v="1421"/>
          <ac:spMkLst>
            <pc:docMk/>
            <pc:sldMk cId="1935986274" sldId="1191"/>
            <ac:spMk id="71" creationId="{48911991-8F97-AA75-9042-F765B93C0A61}"/>
          </ac:spMkLst>
        </pc:spChg>
        <pc:spChg chg="mod">
          <ac:chgData name="Devraj, Keerthi (DI SW ICS DVT CSF DV FS)" userId="a61e6969-d85e-42d5-913e-c7fe6fb96353" providerId="ADAL" clId="{8D2B4F8B-645F-482E-A867-56D9A41DB3EB}" dt="2023-11-15T09:47:32.054" v="1421"/>
          <ac:spMkLst>
            <pc:docMk/>
            <pc:sldMk cId="1935986274" sldId="1191"/>
            <ac:spMk id="72" creationId="{00865E7B-D340-0CDD-925C-33BD0D7C54AB}"/>
          </ac:spMkLst>
        </pc:spChg>
        <pc:spChg chg="mod">
          <ac:chgData name="Devraj, Keerthi (DI SW ICS DVT CSF DV FS)" userId="a61e6969-d85e-42d5-913e-c7fe6fb96353" providerId="ADAL" clId="{8D2B4F8B-645F-482E-A867-56D9A41DB3EB}" dt="2023-11-15T09:47:32.054" v="1421"/>
          <ac:spMkLst>
            <pc:docMk/>
            <pc:sldMk cId="1935986274" sldId="1191"/>
            <ac:spMk id="74" creationId="{8F60004E-6714-F28A-89D9-0E163458187D}"/>
          </ac:spMkLst>
        </pc:spChg>
        <pc:spChg chg="mod">
          <ac:chgData name="Devraj, Keerthi (DI SW ICS DVT CSF DV FS)" userId="a61e6969-d85e-42d5-913e-c7fe6fb96353" providerId="ADAL" clId="{8D2B4F8B-645F-482E-A867-56D9A41DB3EB}" dt="2023-11-15T09:47:32.054" v="1421"/>
          <ac:spMkLst>
            <pc:docMk/>
            <pc:sldMk cId="1935986274" sldId="1191"/>
            <ac:spMk id="75" creationId="{3013900F-294F-8CAE-7DE8-6485828B4F43}"/>
          </ac:spMkLst>
        </pc:spChg>
        <pc:spChg chg="mod">
          <ac:chgData name="Devraj, Keerthi (DI SW ICS DVT CSF DV FS)" userId="a61e6969-d85e-42d5-913e-c7fe6fb96353" providerId="ADAL" clId="{8D2B4F8B-645F-482E-A867-56D9A41DB3EB}" dt="2023-11-15T09:47:32.054" v="1421"/>
          <ac:spMkLst>
            <pc:docMk/>
            <pc:sldMk cId="1935986274" sldId="1191"/>
            <ac:spMk id="76" creationId="{D3FDBC20-2B9F-49D9-7D2D-1A6B7E4DC419}"/>
          </ac:spMkLst>
        </pc:spChg>
        <pc:spChg chg="mod">
          <ac:chgData name="Devraj, Keerthi (DI SW ICS DVT CSF DV FS)" userId="a61e6969-d85e-42d5-913e-c7fe6fb96353" providerId="ADAL" clId="{8D2B4F8B-645F-482E-A867-56D9A41DB3EB}" dt="2023-11-15T09:47:32.054" v="1421"/>
          <ac:spMkLst>
            <pc:docMk/>
            <pc:sldMk cId="1935986274" sldId="1191"/>
            <ac:spMk id="84" creationId="{84319639-3DD7-FC5D-54DA-AC67EA11E0F5}"/>
          </ac:spMkLst>
        </pc:spChg>
        <pc:spChg chg="mod">
          <ac:chgData name="Devraj, Keerthi (DI SW ICS DVT CSF DV FS)" userId="a61e6969-d85e-42d5-913e-c7fe6fb96353" providerId="ADAL" clId="{8D2B4F8B-645F-482E-A867-56D9A41DB3EB}" dt="2023-11-15T09:47:32.054" v="1421"/>
          <ac:spMkLst>
            <pc:docMk/>
            <pc:sldMk cId="1935986274" sldId="1191"/>
            <ac:spMk id="85" creationId="{9CE76CD0-F8C6-E962-E6C3-1AB2B5EEB44E}"/>
          </ac:spMkLst>
        </pc:spChg>
        <pc:spChg chg="mod">
          <ac:chgData name="Devraj, Keerthi (DI SW ICS DVT CSF DV FS)" userId="a61e6969-d85e-42d5-913e-c7fe6fb96353" providerId="ADAL" clId="{8D2B4F8B-645F-482E-A867-56D9A41DB3EB}" dt="2023-11-15T09:47:32.054" v="1421"/>
          <ac:spMkLst>
            <pc:docMk/>
            <pc:sldMk cId="1935986274" sldId="1191"/>
            <ac:spMk id="86" creationId="{F5F0DD5C-BCD9-D3E2-0F87-D6DA4C713A41}"/>
          </ac:spMkLst>
        </pc:spChg>
        <pc:spChg chg="mod">
          <ac:chgData name="Devraj, Keerthi (DI SW ICS DVT CSF DV FS)" userId="a61e6969-d85e-42d5-913e-c7fe6fb96353" providerId="ADAL" clId="{8D2B4F8B-645F-482E-A867-56D9A41DB3EB}" dt="2023-11-15T09:47:32.054" v="1421"/>
          <ac:spMkLst>
            <pc:docMk/>
            <pc:sldMk cId="1935986274" sldId="1191"/>
            <ac:spMk id="88" creationId="{6FABC141-04E6-03D9-1A41-8EFC1445B9D6}"/>
          </ac:spMkLst>
        </pc:spChg>
        <pc:spChg chg="mod">
          <ac:chgData name="Devraj, Keerthi (DI SW ICS DVT CSF DV FS)" userId="a61e6969-d85e-42d5-913e-c7fe6fb96353" providerId="ADAL" clId="{8D2B4F8B-645F-482E-A867-56D9A41DB3EB}" dt="2023-11-15T09:47:32.054" v="1421"/>
          <ac:spMkLst>
            <pc:docMk/>
            <pc:sldMk cId="1935986274" sldId="1191"/>
            <ac:spMk id="89" creationId="{20D57C91-4106-8D52-DC2D-67E565683B79}"/>
          </ac:spMkLst>
        </pc:spChg>
        <pc:spChg chg="mod">
          <ac:chgData name="Devraj, Keerthi (DI SW ICS DVT CSF DV FS)" userId="a61e6969-d85e-42d5-913e-c7fe6fb96353" providerId="ADAL" clId="{8D2B4F8B-645F-482E-A867-56D9A41DB3EB}" dt="2023-11-15T09:47:32.054" v="1421"/>
          <ac:spMkLst>
            <pc:docMk/>
            <pc:sldMk cId="1935986274" sldId="1191"/>
            <ac:spMk id="90" creationId="{24722683-5C25-F919-4239-A8A229844F34}"/>
          </ac:spMkLst>
        </pc:spChg>
        <pc:spChg chg="mod">
          <ac:chgData name="Devraj, Keerthi (DI SW ICS DVT CSF DV FS)" userId="a61e6969-d85e-42d5-913e-c7fe6fb96353" providerId="ADAL" clId="{8D2B4F8B-645F-482E-A867-56D9A41DB3EB}" dt="2023-11-15T09:47:32.054" v="1421"/>
          <ac:spMkLst>
            <pc:docMk/>
            <pc:sldMk cId="1935986274" sldId="1191"/>
            <ac:spMk id="98" creationId="{AE54BFBF-4C21-7E9E-13CC-3F63747DD776}"/>
          </ac:spMkLst>
        </pc:spChg>
        <pc:spChg chg="mod">
          <ac:chgData name="Devraj, Keerthi (DI SW ICS DVT CSF DV FS)" userId="a61e6969-d85e-42d5-913e-c7fe6fb96353" providerId="ADAL" clId="{8D2B4F8B-645F-482E-A867-56D9A41DB3EB}" dt="2023-11-15T09:47:32.054" v="1421"/>
          <ac:spMkLst>
            <pc:docMk/>
            <pc:sldMk cId="1935986274" sldId="1191"/>
            <ac:spMk id="99" creationId="{6B7C1EE1-6D89-1595-CF36-DC28AF43DC63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51:50.991" v="1423"/>
          <ac:spMkLst>
            <pc:docMk/>
            <pc:sldMk cId="1935986274" sldId="1191"/>
            <ac:spMk id="112" creationId="{5153710D-7A43-DAD2-57DB-6B7142BC216C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51:50.991" v="1423"/>
          <ac:spMkLst>
            <pc:docMk/>
            <pc:sldMk cId="1935986274" sldId="1191"/>
            <ac:spMk id="113" creationId="{A4500003-7F58-E021-F549-B109C34EE05C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51:50.991" v="1423"/>
          <ac:spMkLst>
            <pc:docMk/>
            <pc:sldMk cId="1935986274" sldId="1191"/>
            <ac:spMk id="114" creationId="{24C25E41-FBD1-AB2F-5031-A83AB5C409D2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52:17.167" v="1429" actId="6549"/>
          <ac:spMkLst>
            <pc:docMk/>
            <pc:sldMk cId="1935986274" sldId="1191"/>
            <ac:spMk id="115" creationId="{C3D429D3-4D89-DA77-619B-B21DD01F5EF3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52:11.192" v="1426" actId="164"/>
          <ac:spMkLst>
            <pc:docMk/>
            <pc:sldMk cId="1935986274" sldId="1191"/>
            <ac:spMk id="116" creationId="{4FA38153-5893-A64D-684B-D80290FD8A04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52:11.192" v="1426" actId="164"/>
          <ac:spMkLst>
            <pc:docMk/>
            <pc:sldMk cId="1935986274" sldId="1191"/>
            <ac:spMk id="117" creationId="{23B42FEB-EE44-181C-038D-D8B1D7B0C9E7}"/>
          </ac:spMkLst>
        </pc:spChg>
        <pc:spChg chg="mod">
          <ac:chgData name="Devraj, Keerthi (DI SW ICS DVT CSF DV FS)" userId="a61e6969-d85e-42d5-913e-c7fe6fb96353" providerId="ADAL" clId="{8D2B4F8B-645F-482E-A867-56D9A41DB3EB}" dt="2023-11-15T09:52:07.423" v="1425"/>
          <ac:spMkLst>
            <pc:docMk/>
            <pc:sldMk cId="1935986274" sldId="1191"/>
            <ac:spMk id="133" creationId="{C67DD896-5EAB-60C7-3C4A-0308B08851CB}"/>
          </ac:spMkLst>
        </pc:spChg>
        <pc:spChg chg="mod">
          <ac:chgData name="Devraj, Keerthi (DI SW ICS DVT CSF DV FS)" userId="a61e6969-d85e-42d5-913e-c7fe6fb96353" providerId="ADAL" clId="{8D2B4F8B-645F-482E-A867-56D9A41DB3EB}" dt="2023-11-15T09:52:07.423" v="1425"/>
          <ac:spMkLst>
            <pc:docMk/>
            <pc:sldMk cId="1935986274" sldId="1191"/>
            <ac:spMk id="135" creationId="{CEA3A4E5-0F3D-CDE5-8485-BA63762125A2}"/>
          </ac:spMkLst>
        </pc:spChg>
        <pc:spChg chg="mod">
          <ac:chgData name="Devraj, Keerthi (DI SW ICS DVT CSF DV FS)" userId="a61e6969-d85e-42d5-913e-c7fe6fb96353" providerId="ADAL" clId="{8D2B4F8B-645F-482E-A867-56D9A41DB3EB}" dt="2023-11-15T09:52:07.423" v="1425"/>
          <ac:spMkLst>
            <pc:docMk/>
            <pc:sldMk cId="1935986274" sldId="1191"/>
            <ac:spMk id="136" creationId="{325673F7-1950-2066-C27C-89C4839C73DB}"/>
          </ac:spMkLst>
        </pc:spChg>
        <pc:spChg chg="mod">
          <ac:chgData name="Devraj, Keerthi (DI SW ICS DVT CSF DV FS)" userId="a61e6969-d85e-42d5-913e-c7fe6fb96353" providerId="ADAL" clId="{8D2B4F8B-645F-482E-A867-56D9A41DB3EB}" dt="2023-11-15T09:52:07.423" v="1425"/>
          <ac:spMkLst>
            <pc:docMk/>
            <pc:sldMk cId="1935986274" sldId="1191"/>
            <ac:spMk id="137" creationId="{4731E7C1-50B8-FEFE-18A5-FB788B98E477}"/>
          </ac:spMkLst>
        </pc:spChg>
        <pc:spChg chg="mod">
          <ac:chgData name="Devraj, Keerthi (DI SW ICS DVT CSF DV FS)" userId="a61e6969-d85e-42d5-913e-c7fe6fb96353" providerId="ADAL" clId="{8D2B4F8B-645F-482E-A867-56D9A41DB3EB}" dt="2023-11-15T09:52:07.423" v="1425"/>
          <ac:spMkLst>
            <pc:docMk/>
            <pc:sldMk cId="1935986274" sldId="1191"/>
            <ac:spMk id="145" creationId="{7FC25AE2-6260-7E89-145B-3BE254289B51}"/>
          </ac:spMkLst>
        </pc:spChg>
        <pc:spChg chg="mod">
          <ac:chgData name="Devraj, Keerthi (DI SW ICS DVT CSF DV FS)" userId="a61e6969-d85e-42d5-913e-c7fe6fb96353" providerId="ADAL" clId="{8D2B4F8B-645F-482E-A867-56D9A41DB3EB}" dt="2023-11-15T09:52:07.423" v="1425"/>
          <ac:spMkLst>
            <pc:docMk/>
            <pc:sldMk cId="1935986274" sldId="1191"/>
            <ac:spMk id="146" creationId="{BDD8275C-A71F-48C6-7AF2-85914A86300F}"/>
          </ac:spMkLst>
        </pc:spChg>
        <pc:spChg chg="mod">
          <ac:chgData name="Devraj, Keerthi (DI SW ICS DVT CSF DV FS)" userId="a61e6969-d85e-42d5-913e-c7fe6fb96353" providerId="ADAL" clId="{8D2B4F8B-645F-482E-A867-56D9A41DB3EB}" dt="2023-11-15T09:52:07.423" v="1425"/>
          <ac:spMkLst>
            <pc:docMk/>
            <pc:sldMk cId="1935986274" sldId="1191"/>
            <ac:spMk id="148" creationId="{C9C6C52D-3DCF-BFA9-AF56-CBF24E39D8C8}"/>
          </ac:spMkLst>
        </pc:spChg>
        <pc:spChg chg="mod">
          <ac:chgData name="Devraj, Keerthi (DI SW ICS DVT CSF DV FS)" userId="a61e6969-d85e-42d5-913e-c7fe6fb96353" providerId="ADAL" clId="{8D2B4F8B-645F-482E-A867-56D9A41DB3EB}" dt="2023-11-15T09:52:07.423" v="1425"/>
          <ac:spMkLst>
            <pc:docMk/>
            <pc:sldMk cId="1935986274" sldId="1191"/>
            <ac:spMk id="150" creationId="{45F588B1-A0F9-F26D-6A21-BFF527F5EE18}"/>
          </ac:spMkLst>
        </pc:spChg>
        <pc:spChg chg="mod">
          <ac:chgData name="Devraj, Keerthi (DI SW ICS DVT CSF DV FS)" userId="a61e6969-d85e-42d5-913e-c7fe6fb96353" providerId="ADAL" clId="{8D2B4F8B-645F-482E-A867-56D9A41DB3EB}" dt="2023-11-15T09:52:07.423" v="1425"/>
          <ac:spMkLst>
            <pc:docMk/>
            <pc:sldMk cId="1935986274" sldId="1191"/>
            <ac:spMk id="151" creationId="{2EED98A5-151E-E298-EB97-7AC8324F95AC}"/>
          </ac:spMkLst>
        </pc:spChg>
        <pc:spChg chg="mod">
          <ac:chgData name="Devraj, Keerthi (DI SW ICS DVT CSF DV FS)" userId="a61e6969-d85e-42d5-913e-c7fe6fb96353" providerId="ADAL" clId="{8D2B4F8B-645F-482E-A867-56D9A41DB3EB}" dt="2023-11-15T09:52:07.423" v="1425"/>
          <ac:spMkLst>
            <pc:docMk/>
            <pc:sldMk cId="1935986274" sldId="1191"/>
            <ac:spMk id="152" creationId="{FC5C032F-DC26-7003-EB47-019ED725A76C}"/>
          </ac:spMkLst>
        </pc:spChg>
        <pc:spChg chg="mod">
          <ac:chgData name="Devraj, Keerthi (DI SW ICS DVT CSF DV FS)" userId="a61e6969-d85e-42d5-913e-c7fe6fb96353" providerId="ADAL" clId="{8D2B4F8B-645F-482E-A867-56D9A41DB3EB}" dt="2023-11-15T09:52:07.423" v="1425"/>
          <ac:spMkLst>
            <pc:docMk/>
            <pc:sldMk cId="1935986274" sldId="1191"/>
            <ac:spMk id="160" creationId="{2D10B3A1-3D50-A42A-D358-52F8AD9FDB5A}"/>
          </ac:spMkLst>
        </pc:spChg>
        <pc:spChg chg="mod">
          <ac:chgData name="Devraj, Keerthi (DI SW ICS DVT CSF DV FS)" userId="a61e6969-d85e-42d5-913e-c7fe6fb96353" providerId="ADAL" clId="{8D2B4F8B-645F-482E-A867-56D9A41DB3EB}" dt="2023-11-15T09:52:07.423" v="1425"/>
          <ac:spMkLst>
            <pc:docMk/>
            <pc:sldMk cId="1935986274" sldId="1191"/>
            <ac:spMk id="161" creationId="{3B9589DF-7FB2-6C0E-3F7D-F53F91C59F47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52:11.192" v="1426" actId="164"/>
          <ac:spMkLst>
            <pc:docMk/>
            <pc:sldMk cId="1935986274" sldId="1191"/>
            <ac:spMk id="162" creationId="{B671BEAE-5722-4B00-6BB0-FD92DBB9A723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52:11.192" v="1426" actId="164"/>
          <ac:spMkLst>
            <pc:docMk/>
            <pc:sldMk cId="1935986274" sldId="1191"/>
            <ac:spMk id="163" creationId="{ADBABBC2-13CD-AF5C-70BD-C02E53F3A251}"/>
          </ac:spMkLst>
        </pc:spChg>
        <pc:spChg chg="mod">
          <ac:chgData name="Devraj, Keerthi (DI SW ICS DVT CSF DV FS)" userId="a61e6969-d85e-42d5-913e-c7fe6fb96353" providerId="ADAL" clId="{8D2B4F8B-645F-482E-A867-56D9A41DB3EB}" dt="2023-11-15T09:52:07.423" v="1425"/>
          <ac:spMkLst>
            <pc:docMk/>
            <pc:sldMk cId="1935986274" sldId="1191"/>
            <ac:spMk id="165" creationId="{CD545422-4B1E-2917-3F58-B599881933FE}"/>
          </ac:spMkLst>
        </pc:spChg>
        <pc:spChg chg="mod">
          <ac:chgData name="Devraj, Keerthi (DI SW ICS DVT CSF DV FS)" userId="a61e6969-d85e-42d5-913e-c7fe6fb96353" providerId="ADAL" clId="{8D2B4F8B-645F-482E-A867-56D9A41DB3EB}" dt="2023-11-15T09:52:07.423" v="1425"/>
          <ac:spMkLst>
            <pc:docMk/>
            <pc:sldMk cId="1935986274" sldId="1191"/>
            <ac:spMk id="167" creationId="{E2EACDCA-7FD5-D675-6B5A-4E942D5B9068}"/>
          </ac:spMkLst>
        </pc:spChg>
        <pc:spChg chg="mod">
          <ac:chgData name="Devraj, Keerthi (DI SW ICS DVT CSF DV FS)" userId="a61e6969-d85e-42d5-913e-c7fe6fb96353" providerId="ADAL" clId="{8D2B4F8B-645F-482E-A867-56D9A41DB3EB}" dt="2023-11-15T09:52:07.423" v="1425"/>
          <ac:spMkLst>
            <pc:docMk/>
            <pc:sldMk cId="1935986274" sldId="1191"/>
            <ac:spMk id="168" creationId="{5F9C9D32-4AC9-D07D-9A67-65CF24E38829}"/>
          </ac:spMkLst>
        </pc:spChg>
        <pc:spChg chg="mod">
          <ac:chgData name="Devraj, Keerthi (DI SW ICS DVT CSF DV FS)" userId="a61e6969-d85e-42d5-913e-c7fe6fb96353" providerId="ADAL" clId="{8D2B4F8B-645F-482E-A867-56D9A41DB3EB}" dt="2023-11-15T09:52:07.423" v="1425"/>
          <ac:spMkLst>
            <pc:docMk/>
            <pc:sldMk cId="1935986274" sldId="1191"/>
            <ac:spMk id="169" creationId="{3D68EEFA-F2CC-5AD8-2B08-5313C4C78F6B}"/>
          </ac:spMkLst>
        </pc:spChg>
        <pc:spChg chg="mod">
          <ac:chgData name="Devraj, Keerthi (DI SW ICS DVT CSF DV FS)" userId="a61e6969-d85e-42d5-913e-c7fe6fb96353" providerId="ADAL" clId="{8D2B4F8B-645F-482E-A867-56D9A41DB3EB}" dt="2023-11-15T09:52:07.423" v="1425"/>
          <ac:spMkLst>
            <pc:docMk/>
            <pc:sldMk cId="1935986274" sldId="1191"/>
            <ac:spMk id="177" creationId="{D09F6BCF-E9C7-E51F-7F8D-4CD4DF64F49A}"/>
          </ac:spMkLst>
        </pc:spChg>
        <pc:spChg chg="mod">
          <ac:chgData name="Devraj, Keerthi (DI SW ICS DVT CSF DV FS)" userId="a61e6969-d85e-42d5-913e-c7fe6fb96353" providerId="ADAL" clId="{8D2B4F8B-645F-482E-A867-56D9A41DB3EB}" dt="2023-11-15T09:52:07.423" v="1425"/>
          <ac:spMkLst>
            <pc:docMk/>
            <pc:sldMk cId="1935986274" sldId="1191"/>
            <ac:spMk id="178" creationId="{9889C1B8-CF06-9069-D736-47AD92103AB1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52:11.192" v="1426" actId="164"/>
          <ac:spMkLst>
            <pc:docMk/>
            <pc:sldMk cId="1935986274" sldId="1191"/>
            <ac:spMk id="179" creationId="{5F2D8F07-7A3D-1B1B-FB37-CE46D959ED8D}"/>
          </ac:spMkLst>
        </pc:spChg>
        <pc:spChg chg="mod">
          <ac:chgData name="Devraj, Keerthi (DI SW ICS DVT CSF DV FS)" userId="a61e6969-d85e-42d5-913e-c7fe6fb96353" providerId="ADAL" clId="{8D2B4F8B-645F-482E-A867-56D9A41DB3EB}" dt="2023-11-15T09:52:07.423" v="1425"/>
          <ac:spMkLst>
            <pc:docMk/>
            <pc:sldMk cId="1935986274" sldId="1191"/>
            <ac:spMk id="181" creationId="{FD69442C-6FB7-E072-D0C5-691171A6C5B2}"/>
          </ac:spMkLst>
        </pc:spChg>
        <pc:spChg chg="mod">
          <ac:chgData name="Devraj, Keerthi (DI SW ICS DVT CSF DV FS)" userId="a61e6969-d85e-42d5-913e-c7fe6fb96353" providerId="ADAL" clId="{8D2B4F8B-645F-482E-A867-56D9A41DB3EB}" dt="2023-11-15T09:52:07.423" v="1425"/>
          <ac:spMkLst>
            <pc:docMk/>
            <pc:sldMk cId="1935986274" sldId="1191"/>
            <ac:spMk id="183" creationId="{8EDA5E17-103D-F396-8D27-B5C835A0CE26}"/>
          </ac:spMkLst>
        </pc:spChg>
        <pc:spChg chg="mod">
          <ac:chgData name="Devraj, Keerthi (DI SW ICS DVT CSF DV FS)" userId="a61e6969-d85e-42d5-913e-c7fe6fb96353" providerId="ADAL" clId="{8D2B4F8B-645F-482E-A867-56D9A41DB3EB}" dt="2023-11-15T09:52:07.423" v="1425"/>
          <ac:spMkLst>
            <pc:docMk/>
            <pc:sldMk cId="1935986274" sldId="1191"/>
            <ac:spMk id="184" creationId="{99BDB79C-43B4-87D1-081B-1EE8F2462F25}"/>
          </ac:spMkLst>
        </pc:spChg>
        <pc:spChg chg="mod">
          <ac:chgData name="Devraj, Keerthi (DI SW ICS DVT CSF DV FS)" userId="a61e6969-d85e-42d5-913e-c7fe6fb96353" providerId="ADAL" clId="{8D2B4F8B-645F-482E-A867-56D9A41DB3EB}" dt="2023-11-15T09:52:07.423" v="1425"/>
          <ac:spMkLst>
            <pc:docMk/>
            <pc:sldMk cId="1935986274" sldId="1191"/>
            <ac:spMk id="185" creationId="{288AF559-44A8-774A-1A8A-22D5FA7E19C8}"/>
          </ac:spMkLst>
        </pc:spChg>
        <pc:spChg chg="mod">
          <ac:chgData name="Devraj, Keerthi (DI SW ICS DVT CSF DV FS)" userId="a61e6969-d85e-42d5-913e-c7fe6fb96353" providerId="ADAL" clId="{8D2B4F8B-645F-482E-A867-56D9A41DB3EB}" dt="2023-11-15T09:52:07.423" v="1425"/>
          <ac:spMkLst>
            <pc:docMk/>
            <pc:sldMk cId="1935986274" sldId="1191"/>
            <ac:spMk id="193" creationId="{A7256155-DFBE-ED19-2262-0C0F672FD8A9}"/>
          </ac:spMkLst>
        </pc:spChg>
        <pc:spChg chg="mod">
          <ac:chgData name="Devraj, Keerthi (DI SW ICS DVT CSF DV FS)" userId="a61e6969-d85e-42d5-913e-c7fe6fb96353" providerId="ADAL" clId="{8D2B4F8B-645F-482E-A867-56D9A41DB3EB}" dt="2023-11-15T09:52:07.423" v="1425"/>
          <ac:spMkLst>
            <pc:docMk/>
            <pc:sldMk cId="1935986274" sldId="1191"/>
            <ac:spMk id="194" creationId="{EA94DD49-5A63-66F1-22C8-F89BF21ECB47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52:11.192" v="1426" actId="164"/>
          <ac:spMkLst>
            <pc:docMk/>
            <pc:sldMk cId="1935986274" sldId="1191"/>
            <ac:spMk id="195" creationId="{5E5237A9-1C65-2EF2-4064-FAE78D2FE052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52:11.192" v="1426" actId="164"/>
          <ac:spMkLst>
            <pc:docMk/>
            <pc:sldMk cId="1935986274" sldId="1191"/>
            <ac:spMk id="196" creationId="{81B0A0B0-0E52-71CC-0FB7-BAA655E85517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52:11.192" v="1426" actId="164"/>
          <ac:spMkLst>
            <pc:docMk/>
            <pc:sldMk cId="1935986274" sldId="1191"/>
            <ac:spMk id="197" creationId="{A0A32EC2-E216-D7D5-0642-EBA0D014ED17}"/>
          </ac:spMkLst>
        </pc:spChg>
        <pc:spChg chg="mod">
          <ac:chgData name="Devraj, Keerthi (DI SW ICS DVT CSF DV FS)" userId="a61e6969-d85e-42d5-913e-c7fe6fb96353" providerId="ADAL" clId="{8D2B4F8B-645F-482E-A867-56D9A41DB3EB}" dt="2023-11-15T09:52:07.423" v="1425"/>
          <ac:spMkLst>
            <pc:docMk/>
            <pc:sldMk cId="1935986274" sldId="1191"/>
            <ac:spMk id="199" creationId="{9A8C8538-319C-794A-84CD-5F2D4866970C}"/>
          </ac:spMkLst>
        </pc:spChg>
        <pc:spChg chg="mod">
          <ac:chgData name="Devraj, Keerthi (DI SW ICS DVT CSF DV FS)" userId="a61e6969-d85e-42d5-913e-c7fe6fb96353" providerId="ADAL" clId="{8D2B4F8B-645F-482E-A867-56D9A41DB3EB}" dt="2023-11-15T09:52:07.423" v="1425"/>
          <ac:spMkLst>
            <pc:docMk/>
            <pc:sldMk cId="1935986274" sldId="1191"/>
            <ac:spMk id="201" creationId="{5220D423-CEF1-CDDC-C416-2C4ABB8B3438}"/>
          </ac:spMkLst>
        </pc:spChg>
        <pc:spChg chg="mod">
          <ac:chgData name="Devraj, Keerthi (DI SW ICS DVT CSF DV FS)" userId="a61e6969-d85e-42d5-913e-c7fe6fb96353" providerId="ADAL" clId="{8D2B4F8B-645F-482E-A867-56D9A41DB3EB}" dt="2023-11-15T09:52:07.423" v="1425"/>
          <ac:spMkLst>
            <pc:docMk/>
            <pc:sldMk cId="1935986274" sldId="1191"/>
            <ac:spMk id="202" creationId="{114A62F2-641A-D7FF-09F6-B4365D240A38}"/>
          </ac:spMkLst>
        </pc:spChg>
        <pc:spChg chg="mod">
          <ac:chgData name="Devraj, Keerthi (DI SW ICS DVT CSF DV FS)" userId="a61e6969-d85e-42d5-913e-c7fe6fb96353" providerId="ADAL" clId="{8D2B4F8B-645F-482E-A867-56D9A41DB3EB}" dt="2023-11-15T09:52:07.423" v="1425"/>
          <ac:spMkLst>
            <pc:docMk/>
            <pc:sldMk cId="1935986274" sldId="1191"/>
            <ac:spMk id="203" creationId="{286B36FE-775A-41BE-FC55-30B58AA202C3}"/>
          </ac:spMkLst>
        </pc:spChg>
        <pc:spChg chg="mod">
          <ac:chgData name="Devraj, Keerthi (DI SW ICS DVT CSF DV FS)" userId="a61e6969-d85e-42d5-913e-c7fe6fb96353" providerId="ADAL" clId="{8D2B4F8B-645F-482E-A867-56D9A41DB3EB}" dt="2023-11-15T09:52:07.423" v="1425"/>
          <ac:spMkLst>
            <pc:docMk/>
            <pc:sldMk cId="1935986274" sldId="1191"/>
            <ac:spMk id="211" creationId="{FA8B7B38-B392-EF3A-E6BF-13D3834F9FFE}"/>
          </ac:spMkLst>
        </pc:spChg>
        <pc:spChg chg="mod">
          <ac:chgData name="Devraj, Keerthi (DI SW ICS DVT CSF DV FS)" userId="a61e6969-d85e-42d5-913e-c7fe6fb96353" providerId="ADAL" clId="{8D2B4F8B-645F-482E-A867-56D9A41DB3EB}" dt="2023-11-15T09:52:07.423" v="1425"/>
          <ac:spMkLst>
            <pc:docMk/>
            <pc:sldMk cId="1935986274" sldId="1191"/>
            <ac:spMk id="212" creationId="{D31AEB49-ADD8-12ED-559F-2C1239C458E9}"/>
          </ac:spMkLst>
        </pc:spChg>
        <pc:grpChg chg="add del mod">
          <ac:chgData name="Devraj, Keerthi (DI SW ICS DVT CSF DV FS)" userId="a61e6969-d85e-42d5-913e-c7fe6fb96353" providerId="ADAL" clId="{8D2B4F8B-645F-482E-A867-56D9A41DB3EB}" dt="2023-11-15T09:51:56.604" v="1424" actId="478"/>
          <ac:grpSpMkLst>
            <pc:docMk/>
            <pc:sldMk cId="1935986274" sldId="1191"/>
            <ac:grpSpMk id="12" creationId="{EF5221CF-ED58-D4A9-6B22-5E6CEC83AA83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47:32.054" v="1421"/>
          <ac:grpSpMkLst>
            <pc:docMk/>
            <pc:sldMk cId="1935986274" sldId="1191"/>
            <ac:grpSpMk id="16" creationId="{2AE70291-034B-A263-0313-59DBA4931B2F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47:32.054" v="1421"/>
          <ac:grpSpMkLst>
            <pc:docMk/>
            <pc:sldMk cId="1935986274" sldId="1191"/>
            <ac:grpSpMk id="17" creationId="{8BA051F9-F0D7-4883-AF68-148565398D8A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47:32.054" v="1421"/>
          <ac:grpSpMkLst>
            <pc:docMk/>
            <pc:sldMk cId="1935986274" sldId="1191"/>
            <ac:grpSpMk id="18" creationId="{4E3C2329-2A0F-22D4-98C4-1CC32423EB76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47:32.054" v="1421"/>
          <ac:grpSpMkLst>
            <pc:docMk/>
            <pc:sldMk cId="1935986274" sldId="1191"/>
            <ac:grpSpMk id="19" creationId="{F3CEC986-8F71-5EAE-4084-8625D1F488AF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47:32.054" v="1421"/>
          <ac:grpSpMkLst>
            <pc:docMk/>
            <pc:sldMk cId="1935986274" sldId="1191"/>
            <ac:grpSpMk id="22" creationId="{FB17E7B6-E121-C150-7FD0-0CCC82E4562F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47:32.054" v="1421"/>
          <ac:grpSpMkLst>
            <pc:docMk/>
            <pc:sldMk cId="1935986274" sldId="1191"/>
            <ac:grpSpMk id="24" creationId="{0348D50A-9412-48C0-AD6D-844F1A969AA0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47:32.054" v="1421"/>
          <ac:grpSpMkLst>
            <pc:docMk/>
            <pc:sldMk cId="1935986274" sldId="1191"/>
            <ac:grpSpMk id="28" creationId="{058FA56C-A7AE-1CF3-9B01-5D24A603CC99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47:32.054" v="1421"/>
          <ac:grpSpMkLst>
            <pc:docMk/>
            <pc:sldMk cId="1935986274" sldId="1191"/>
            <ac:grpSpMk id="31" creationId="{63DFA021-626D-D69C-0693-C4358DFFBED9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47:32.054" v="1421"/>
          <ac:grpSpMkLst>
            <pc:docMk/>
            <pc:sldMk cId="1935986274" sldId="1191"/>
            <ac:grpSpMk id="41" creationId="{99CAF625-C77C-2885-EB96-15DF3433C8D0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47:32.054" v="1421"/>
          <ac:grpSpMkLst>
            <pc:docMk/>
            <pc:sldMk cId="1935986274" sldId="1191"/>
            <ac:grpSpMk id="45" creationId="{B7B514AC-A888-8695-9DBB-7157344E8F82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47:32.054" v="1421"/>
          <ac:grpSpMkLst>
            <pc:docMk/>
            <pc:sldMk cId="1935986274" sldId="1191"/>
            <ac:grpSpMk id="55" creationId="{FB2B058F-CE07-62DE-B748-A210080BB2E2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47:32.054" v="1421"/>
          <ac:grpSpMkLst>
            <pc:docMk/>
            <pc:sldMk cId="1935986274" sldId="1191"/>
            <ac:grpSpMk id="59" creationId="{E3C9052C-76A3-B5E0-2C8B-75473F2B1D80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47:32.054" v="1421"/>
          <ac:grpSpMkLst>
            <pc:docMk/>
            <pc:sldMk cId="1935986274" sldId="1191"/>
            <ac:grpSpMk id="69" creationId="{8B58AC2F-588B-0302-0A46-1BFFE798E0E6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47:32.054" v="1421"/>
          <ac:grpSpMkLst>
            <pc:docMk/>
            <pc:sldMk cId="1935986274" sldId="1191"/>
            <ac:grpSpMk id="73" creationId="{9C2B5896-AE6F-BF72-B8D1-99CFDE3EC238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47:32.054" v="1421"/>
          <ac:grpSpMkLst>
            <pc:docMk/>
            <pc:sldMk cId="1935986274" sldId="1191"/>
            <ac:grpSpMk id="83" creationId="{8B1F6BB6-CE3F-578F-5C0B-FF982E68985B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47:32.054" v="1421"/>
          <ac:grpSpMkLst>
            <pc:docMk/>
            <pc:sldMk cId="1935986274" sldId="1191"/>
            <ac:grpSpMk id="87" creationId="{E8B8EC05-6F6E-06DA-6049-F80FDF4B474F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47:32.054" v="1421"/>
          <ac:grpSpMkLst>
            <pc:docMk/>
            <pc:sldMk cId="1935986274" sldId="1191"/>
            <ac:grpSpMk id="97" creationId="{A87CD750-CEF2-DBBC-BF98-6C70E11C5571}"/>
          </ac:grpSpMkLst>
        </pc:grpChg>
        <pc:grpChg chg="add mod">
          <ac:chgData name="Devraj, Keerthi (DI SW ICS DVT CSF DV FS)" userId="a61e6969-d85e-42d5-913e-c7fe6fb96353" providerId="ADAL" clId="{8D2B4F8B-645F-482E-A867-56D9A41DB3EB}" dt="2023-11-15T09:52:11.192" v="1426" actId="164"/>
          <ac:grpSpMkLst>
            <pc:docMk/>
            <pc:sldMk cId="1935986274" sldId="1191"/>
            <ac:grpSpMk id="118" creationId="{AD7EE252-F764-2DEC-24D1-08D4335F7A50}"/>
          </ac:grpSpMkLst>
        </pc:grpChg>
        <pc:grpChg chg="add mod">
          <ac:chgData name="Devraj, Keerthi (DI SW ICS DVT CSF DV FS)" userId="a61e6969-d85e-42d5-913e-c7fe6fb96353" providerId="ADAL" clId="{8D2B4F8B-645F-482E-A867-56D9A41DB3EB}" dt="2023-11-15T09:52:11.192" v="1426" actId="164"/>
          <ac:grpSpMkLst>
            <pc:docMk/>
            <pc:sldMk cId="1935986274" sldId="1191"/>
            <ac:grpSpMk id="125" creationId="{CA024B89-2D2F-CB6B-7C65-47161044F605}"/>
          </ac:grpSpMkLst>
        </pc:grpChg>
        <pc:grpChg chg="add mod">
          <ac:chgData name="Devraj, Keerthi (DI SW ICS DVT CSF DV FS)" userId="a61e6969-d85e-42d5-913e-c7fe6fb96353" providerId="ADAL" clId="{8D2B4F8B-645F-482E-A867-56D9A41DB3EB}" dt="2023-11-15T09:52:11.192" v="1426" actId="164"/>
          <ac:grpSpMkLst>
            <pc:docMk/>
            <pc:sldMk cId="1935986274" sldId="1191"/>
            <ac:grpSpMk id="132" creationId="{AB7AEB1F-B41C-8491-3884-10817631A7B8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52:07.423" v="1425"/>
          <ac:grpSpMkLst>
            <pc:docMk/>
            <pc:sldMk cId="1935986274" sldId="1191"/>
            <ac:grpSpMk id="134" creationId="{5C52AA7C-4CFA-A9B1-4BDC-EB3404DCEA3D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52:07.423" v="1425"/>
          <ac:grpSpMkLst>
            <pc:docMk/>
            <pc:sldMk cId="1935986274" sldId="1191"/>
            <ac:grpSpMk id="144" creationId="{FBE958DB-74CA-DFAF-C1FD-738FA1A78C9D}"/>
          </ac:grpSpMkLst>
        </pc:grpChg>
        <pc:grpChg chg="add mod">
          <ac:chgData name="Devraj, Keerthi (DI SW ICS DVT CSF DV FS)" userId="a61e6969-d85e-42d5-913e-c7fe6fb96353" providerId="ADAL" clId="{8D2B4F8B-645F-482E-A867-56D9A41DB3EB}" dt="2023-11-15T09:52:11.192" v="1426" actId="164"/>
          <ac:grpSpMkLst>
            <pc:docMk/>
            <pc:sldMk cId="1935986274" sldId="1191"/>
            <ac:grpSpMk id="147" creationId="{5355656B-5087-7A80-1AB2-AC9C165647EA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52:07.423" v="1425"/>
          <ac:grpSpMkLst>
            <pc:docMk/>
            <pc:sldMk cId="1935986274" sldId="1191"/>
            <ac:grpSpMk id="149" creationId="{AABA0032-BACE-D790-4F0B-5A07924CCDF7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52:07.423" v="1425"/>
          <ac:grpSpMkLst>
            <pc:docMk/>
            <pc:sldMk cId="1935986274" sldId="1191"/>
            <ac:grpSpMk id="159" creationId="{3BDF9A1D-2571-C5F3-B4B3-F583B2DCBE35}"/>
          </ac:grpSpMkLst>
        </pc:grpChg>
        <pc:grpChg chg="add mod">
          <ac:chgData name="Devraj, Keerthi (DI SW ICS DVT CSF DV FS)" userId="a61e6969-d85e-42d5-913e-c7fe6fb96353" providerId="ADAL" clId="{8D2B4F8B-645F-482E-A867-56D9A41DB3EB}" dt="2023-11-15T09:52:11.192" v="1426" actId="164"/>
          <ac:grpSpMkLst>
            <pc:docMk/>
            <pc:sldMk cId="1935986274" sldId="1191"/>
            <ac:grpSpMk id="164" creationId="{DBDE39B7-08CC-ED0A-152B-7EB28D2B0076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52:07.423" v="1425"/>
          <ac:grpSpMkLst>
            <pc:docMk/>
            <pc:sldMk cId="1935986274" sldId="1191"/>
            <ac:grpSpMk id="166" creationId="{5023B563-5BCD-132C-EB65-8F4E90E4F793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52:07.423" v="1425"/>
          <ac:grpSpMkLst>
            <pc:docMk/>
            <pc:sldMk cId="1935986274" sldId="1191"/>
            <ac:grpSpMk id="176" creationId="{29968D1F-A4A4-6DB0-5047-C9B6C7F246D6}"/>
          </ac:grpSpMkLst>
        </pc:grpChg>
        <pc:grpChg chg="add mod">
          <ac:chgData name="Devraj, Keerthi (DI SW ICS DVT CSF DV FS)" userId="a61e6969-d85e-42d5-913e-c7fe6fb96353" providerId="ADAL" clId="{8D2B4F8B-645F-482E-A867-56D9A41DB3EB}" dt="2023-11-15T09:52:11.192" v="1426" actId="164"/>
          <ac:grpSpMkLst>
            <pc:docMk/>
            <pc:sldMk cId="1935986274" sldId="1191"/>
            <ac:grpSpMk id="180" creationId="{FAEC4268-E10C-EFD3-EBDB-6F881338BA9C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52:07.423" v="1425"/>
          <ac:grpSpMkLst>
            <pc:docMk/>
            <pc:sldMk cId="1935986274" sldId="1191"/>
            <ac:grpSpMk id="182" creationId="{E531357D-5194-015C-92A9-5A4E88383B4D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52:07.423" v="1425"/>
          <ac:grpSpMkLst>
            <pc:docMk/>
            <pc:sldMk cId="1935986274" sldId="1191"/>
            <ac:grpSpMk id="192" creationId="{B10CA4CC-68BD-3880-BD00-1AA2CA4603C2}"/>
          </ac:grpSpMkLst>
        </pc:grpChg>
        <pc:grpChg chg="add mod">
          <ac:chgData name="Devraj, Keerthi (DI SW ICS DVT CSF DV FS)" userId="a61e6969-d85e-42d5-913e-c7fe6fb96353" providerId="ADAL" clId="{8D2B4F8B-645F-482E-A867-56D9A41DB3EB}" dt="2023-11-15T09:52:11.192" v="1426" actId="164"/>
          <ac:grpSpMkLst>
            <pc:docMk/>
            <pc:sldMk cId="1935986274" sldId="1191"/>
            <ac:grpSpMk id="198" creationId="{DE7971F7-C832-D162-49F7-5EF4FDB9D361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52:07.423" v="1425"/>
          <ac:grpSpMkLst>
            <pc:docMk/>
            <pc:sldMk cId="1935986274" sldId="1191"/>
            <ac:grpSpMk id="200" creationId="{85F8588D-537D-46A0-D36E-89BDBA37EAE8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52:07.423" v="1425"/>
          <ac:grpSpMkLst>
            <pc:docMk/>
            <pc:sldMk cId="1935986274" sldId="1191"/>
            <ac:grpSpMk id="210" creationId="{B2C6E594-9E91-F076-BCDD-12816E01A75F}"/>
          </ac:grpSpMkLst>
        </pc:grpChg>
        <pc:grpChg chg="add mod">
          <ac:chgData name="Devraj, Keerthi (DI SW ICS DVT CSF DV FS)" userId="a61e6969-d85e-42d5-913e-c7fe6fb96353" providerId="ADAL" clId="{8D2B4F8B-645F-482E-A867-56D9A41DB3EB}" dt="2023-11-15T09:52:22.748" v="1430" actId="1076"/>
          <ac:grpSpMkLst>
            <pc:docMk/>
            <pc:sldMk cId="1935986274" sldId="1191"/>
            <ac:grpSpMk id="214" creationId="{144FD2A0-B67D-BE50-9BBA-E786C653DD60}"/>
          </ac:grpSpMkLst>
        </pc:grpChg>
        <pc:cxnChg chg="mod">
          <ac:chgData name="Devraj, Keerthi (DI SW ICS DVT CSF DV FS)" userId="a61e6969-d85e-42d5-913e-c7fe6fb96353" providerId="ADAL" clId="{8D2B4F8B-645F-482E-A867-56D9A41DB3EB}" dt="2023-11-15T09:51:56.604" v="1424" actId="478"/>
          <ac:cxnSpMkLst>
            <pc:docMk/>
            <pc:sldMk cId="1935986274" sldId="1191"/>
            <ac:cxnSpMk id="29" creationId="{8195F829-222D-8ECC-C94F-B3947E7E5937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7:32.054" v="1421"/>
          <ac:cxnSpMkLst>
            <pc:docMk/>
            <pc:sldMk cId="1935986274" sldId="1191"/>
            <ac:cxnSpMk id="35" creationId="{91B1BC97-DA33-9011-4629-F52ADE77F170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7:32.054" v="1421"/>
          <ac:cxnSpMkLst>
            <pc:docMk/>
            <pc:sldMk cId="1935986274" sldId="1191"/>
            <ac:cxnSpMk id="36" creationId="{98E1360F-BE48-73F0-10BC-D04FC29E4062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7:32.054" v="1421"/>
          <ac:cxnSpMkLst>
            <pc:docMk/>
            <pc:sldMk cId="1935986274" sldId="1191"/>
            <ac:cxnSpMk id="37" creationId="{B0FFC462-EF18-9781-BBB0-8C92748C0F4E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7:32.054" v="1421"/>
          <ac:cxnSpMkLst>
            <pc:docMk/>
            <pc:sldMk cId="1935986274" sldId="1191"/>
            <ac:cxnSpMk id="38" creationId="{821C0165-6B7E-8F10-F645-2BF7413FBC09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7:32.054" v="1421"/>
          <ac:cxnSpMkLst>
            <pc:docMk/>
            <pc:sldMk cId="1935986274" sldId="1191"/>
            <ac:cxnSpMk id="39" creationId="{E941E56D-04A8-6B2F-18F0-AFD72E50FC89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7:32.054" v="1421"/>
          <ac:cxnSpMkLst>
            <pc:docMk/>
            <pc:sldMk cId="1935986274" sldId="1191"/>
            <ac:cxnSpMk id="40" creationId="{3FC04CBD-8E2B-7746-88EF-A10ABB32EEB3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7:32.054" v="1421"/>
          <ac:cxnSpMkLst>
            <pc:docMk/>
            <pc:sldMk cId="1935986274" sldId="1191"/>
            <ac:cxnSpMk id="49" creationId="{0EBB0408-0F9C-5FB9-3281-01F09C331C2C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7:32.054" v="1421"/>
          <ac:cxnSpMkLst>
            <pc:docMk/>
            <pc:sldMk cId="1935986274" sldId="1191"/>
            <ac:cxnSpMk id="50" creationId="{E4212682-6ECF-7766-EC2D-3D0DD14FBE58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7:32.054" v="1421"/>
          <ac:cxnSpMkLst>
            <pc:docMk/>
            <pc:sldMk cId="1935986274" sldId="1191"/>
            <ac:cxnSpMk id="51" creationId="{DC71F3E2-F132-3B0F-3FFF-CF0C8B9EB158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7:32.054" v="1421"/>
          <ac:cxnSpMkLst>
            <pc:docMk/>
            <pc:sldMk cId="1935986274" sldId="1191"/>
            <ac:cxnSpMk id="52" creationId="{78479982-9455-DF87-71DA-C355E0898BC3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7:32.054" v="1421"/>
          <ac:cxnSpMkLst>
            <pc:docMk/>
            <pc:sldMk cId="1935986274" sldId="1191"/>
            <ac:cxnSpMk id="53" creationId="{33232ACC-D9E0-29F4-DB88-794EA3D93B98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7:32.054" v="1421"/>
          <ac:cxnSpMkLst>
            <pc:docMk/>
            <pc:sldMk cId="1935986274" sldId="1191"/>
            <ac:cxnSpMk id="54" creationId="{2D430A88-43FA-1979-8257-BC8207BB5D39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7:32.054" v="1421"/>
          <ac:cxnSpMkLst>
            <pc:docMk/>
            <pc:sldMk cId="1935986274" sldId="1191"/>
            <ac:cxnSpMk id="63" creationId="{3EC6DA18-5CE7-1B05-6BDF-4F2518DC33FD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7:32.054" v="1421"/>
          <ac:cxnSpMkLst>
            <pc:docMk/>
            <pc:sldMk cId="1935986274" sldId="1191"/>
            <ac:cxnSpMk id="64" creationId="{BC51D027-2B25-4D7F-9189-EBC3012C57CA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7:32.054" v="1421"/>
          <ac:cxnSpMkLst>
            <pc:docMk/>
            <pc:sldMk cId="1935986274" sldId="1191"/>
            <ac:cxnSpMk id="65" creationId="{37E59CAC-CB5F-0263-D90C-4C1F3BEBFBB8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7:32.054" v="1421"/>
          <ac:cxnSpMkLst>
            <pc:docMk/>
            <pc:sldMk cId="1935986274" sldId="1191"/>
            <ac:cxnSpMk id="66" creationId="{E93D4E65-A941-A0D9-AFB3-326215C3EE88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7:32.054" v="1421"/>
          <ac:cxnSpMkLst>
            <pc:docMk/>
            <pc:sldMk cId="1935986274" sldId="1191"/>
            <ac:cxnSpMk id="67" creationId="{15583ABF-5555-B601-BBA8-8ADAD0921F46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7:32.054" v="1421"/>
          <ac:cxnSpMkLst>
            <pc:docMk/>
            <pc:sldMk cId="1935986274" sldId="1191"/>
            <ac:cxnSpMk id="68" creationId="{4DB46673-D617-21FF-23FA-637E384B5B70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7:32.054" v="1421"/>
          <ac:cxnSpMkLst>
            <pc:docMk/>
            <pc:sldMk cId="1935986274" sldId="1191"/>
            <ac:cxnSpMk id="77" creationId="{AACC667B-3CC3-53EC-E460-DB2A92046B49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7:32.054" v="1421"/>
          <ac:cxnSpMkLst>
            <pc:docMk/>
            <pc:sldMk cId="1935986274" sldId="1191"/>
            <ac:cxnSpMk id="78" creationId="{2FFEF4D5-0B37-BFA4-B8B8-2604B008B620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7:32.054" v="1421"/>
          <ac:cxnSpMkLst>
            <pc:docMk/>
            <pc:sldMk cId="1935986274" sldId="1191"/>
            <ac:cxnSpMk id="79" creationId="{863ADBCC-8FDF-7F83-BE5B-5EA34BB9592D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7:32.054" v="1421"/>
          <ac:cxnSpMkLst>
            <pc:docMk/>
            <pc:sldMk cId="1935986274" sldId="1191"/>
            <ac:cxnSpMk id="80" creationId="{BB3CFE6B-4C0D-EF77-1D0E-961E78427B96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7:32.054" v="1421"/>
          <ac:cxnSpMkLst>
            <pc:docMk/>
            <pc:sldMk cId="1935986274" sldId="1191"/>
            <ac:cxnSpMk id="81" creationId="{CBDF53EA-CA7D-3877-12CA-41B3425CEFA5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7:32.054" v="1421"/>
          <ac:cxnSpMkLst>
            <pc:docMk/>
            <pc:sldMk cId="1935986274" sldId="1191"/>
            <ac:cxnSpMk id="82" creationId="{B6AAA4F1-7E67-7D92-DBDF-12BFD36803D2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7:32.054" v="1421"/>
          <ac:cxnSpMkLst>
            <pc:docMk/>
            <pc:sldMk cId="1935986274" sldId="1191"/>
            <ac:cxnSpMk id="91" creationId="{B27ED231-7CFA-1C31-2D06-BE62F6631F3D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7:32.054" v="1421"/>
          <ac:cxnSpMkLst>
            <pc:docMk/>
            <pc:sldMk cId="1935986274" sldId="1191"/>
            <ac:cxnSpMk id="92" creationId="{1A9E449E-9753-CB85-43B1-FB22964567D6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7:32.054" v="1421"/>
          <ac:cxnSpMkLst>
            <pc:docMk/>
            <pc:sldMk cId="1935986274" sldId="1191"/>
            <ac:cxnSpMk id="93" creationId="{A1B60BD7-4463-5C41-981A-C90E7ECB70AD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7:32.054" v="1421"/>
          <ac:cxnSpMkLst>
            <pc:docMk/>
            <pc:sldMk cId="1935986274" sldId="1191"/>
            <ac:cxnSpMk id="94" creationId="{FD5EC9CA-5CFD-332A-A1F4-8710BFAF0BF6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7:32.054" v="1421"/>
          <ac:cxnSpMkLst>
            <pc:docMk/>
            <pc:sldMk cId="1935986274" sldId="1191"/>
            <ac:cxnSpMk id="95" creationId="{9C3FCD3D-7FFA-6417-FE61-3F15ED494E77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7:32.054" v="1421"/>
          <ac:cxnSpMkLst>
            <pc:docMk/>
            <pc:sldMk cId="1935986274" sldId="1191"/>
            <ac:cxnSpMk id="96" creationId="{B42E1ED8-C3C4-75D7-D5E7-E52CCFAD5347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7:32.054" v="1421"/>
          <ac:cxnSpMkLst>
            <pc:docMk/>
            <pc:sldMk cId="1935986274" sldId="1191"/>
            <ac:cxnSpMk id="100" creationId="{438A422E-1A17-3027-8F38-A26C16F571FB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7:32.054" v="1421"/>
          <ac:cxnSpMkLst>
            <pc:docMk/>
            <pc:sldMk cId="1935986274" sldId="1191"/>
            <ac:cxnSpMk id="101" creationId="{0B19201A-6BFC-3E72-3D7A-7211BD6AB5A4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7:32.054" v="1421"/>
          <ac:cxnSpMkLst>
            <pc:docMk/>
            <pc:sldMk cId="1935986274" sldId="1191"/>
            <ac:cxnSpMk id="102" creationId="{B7A4E58B-86E8-9B41-9BEC-C3F08BC9F466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7:32.054" v="1421"/>
          <ac:cxnSpMkLst>
            <pc:docMk/>
            <pc:sldMk cId="1935986274" sldId="1191"/>
            <ac:cxnSpMk id="103" creationId="{86DE4416-F135-E111-1042-B4C1F1847FAD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7:32.054" v="1421"/>
          <ac:cxnSpMkLst>
            <pc:docMk/>
            <pc:sldMk cId="1935986274" sldId="1191"/>
            <ac:cxnSpMk id="104" creationId="{1AD777AA-75B2-C9A5-1FB4-2AEEEEDF6F3D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7:32.054" v="1421"/>
          <ac:cxnSpMkLst>
            <pc:docMk/>
            <pc:sldMk cId="1935986274" sldId="1191"/>
            <ac:cxnSpMk id="105" creationId="{33F5B0B6-FDC1-3FA1-C51A-ECB356961931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7:32.054" v="1421"/>
          <ac:cxnSpMkLst>
            <pc:docMk/>
            <pc:sldMk cId="1935986274" sldId="1191"/>
            <ac:cxnSpMk id="106" creationId="{8B4BD4BA-6731-6D8E-F24E-CC34F874EF84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7:32.054" v="1421"/>
          <ac:cxnSpMkLst>
            <pc:docMk/>
            <pc:sldMk cId="1935986274" sldId="1191"/>
            <ac:cxnSpMk id="107" creationId="{381E8F5B-F4B4-8A08-334E-62F09A6496F5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7:32.054" v="1421"/>
          <ac:cxnSpMkLst>
            <pc:docMk/>
            <pc:sldMk cId="1935986274" sldId="1191"/>
            <ac:cxnSpMk id="108" creationId="{D24EC4F3-94D2-E075-392A-376C861CECCA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7:32.054" v="1421"/>
          <ac:cxnSpMkLst>
            <pc:docMk/>
            <pc:sldMk cId="1935986274" sldId="1191"/>
            <ac:cxnSpMk id="109" creationId="{33E95347-DB62-90F4-0461-17BEA035EA6D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7:32.054" v="1421"/>
          <ac:cxnSpMkLst>
            <pc:docMk/>
            <pc:sldMk cId="1935986274" sldId="1191"/>
            <ac:cxnSpMk id="110" creationId="{E3E59C71-3775-5E88-2E34-C915ED9A0AF3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7:32.054" v="1421"/>
          <ac:cxnSpMkLst>
            <pc:docMk/>
            <pc:sldMk cId="1935986274" sldId="1191"/>
            <ac:cxnSpMk id="111" creationId="{056B23F7-5327-75B2-56D3-678B901BDD4B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52:07.423" v="1425"/>
          <ac:cxnSpMkLst>
            <pc:docMk/>
            <pc:sldMk cId="1935986274" sldId="1191"/>
            <ac:cxnSpMk id="119" creationId="{1CB5CFC9-C9DD-FB21-6BA5-FDBB15250F81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52:07.423" v="1425"/>
          <ac:cxnSpMkLst>
            <pc:docMk/>
            <pc:sldMk cId="1935986274" sldId="1191"/>
            <ac:cxnSpMk id="120" creationId="{E5B43DEF-2ED9-EE6A-4B2A-5E76BD695773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52:07.423" v="1425"/>
          <ac:cxnSpMkLst>
            <pc:docMk/>
            <pc:sldMk cId="1935986274" sldId="1191"/>
            <ac:cxnSpMk id="121" creationId="{51D3EA46-EFC5-197D-70D4-138673288610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52:07.423" v="1425"/>
          <ac:cxnSpMkLst>
            <pc:docMk/>
            <pc:sldMk cId="1935986274" sldId="1191"/>
            <ac:cxnSpMk id="122" creationId="{61EA8B91-7906-7288-A665-49F66E42ADB8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52:07.423" v="1425"/>
          <ac:cxnSpMkLst>
            <pc:docMk/>
            <pc:sldMk cId="1935986274" sldId="1191"/>
            <ac:cxnSpMk id="123" creationId="{467DAE33-ECFA-DE19-CBD5-996E59FDA687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52:07.423" v="1425"/>
          <ac:cxnSpMkLst>
            <pc:docMk/>
            <pc:sldMk cId="1935986274" sldId="1191"/>
            <ac:cxnSpMk id="124" creationId="{C8231DFB-9407-C5A7-9F5D-76F720AEFFFF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52:07.423" v="1425"/>
          <ac:cxnSpMkLst>
            <pc:docMk/>
            <pc:sldMk cId="1935986274" sldId="1191"/>
            <ac:cxnSpMk id="126" creationId="{66D19AAB-126E-D398-CEEA-0E914D8B64E9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52:07.423" v="1425"/>
          <ac:cxnSpMkLst>
            <pc:docMk/>
            <pc:sldMk cId="1935986274" sldId="1191"/>
            <ac:cxnSpMk id="127" creationId="{C97DC15B-B71A-500C-6FEA-B888E865CDBC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52:07.423" v="1425"/>
          <ac:cxnSpMkLst>
            <pc:docMk/>
            <pc:sldMk cId="1935986274" sldId="1191"/>
            <ac:cxnSpMk id="128" creationId="{9A3BFCF4-6050-00E3-8901-0C83010C89E5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52:07.423" v="1425"/>
          <ac:cxnSpMkLst>
            <pc:docMk/>
            <pc:sldMk cId="1935986274" sldId="1191"/>
            <ac:cxnSpMk id="129" creationId="{4CC33916-F287-8F50-0DF9-FFE5934980A3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52:07.423" v="1425"/>
          <ac:cxnSpMkLst>
            <pc:docMk/>
            <pc:sldMk cId="1935986274" sldId="1191"/>
            <ac:cxnSpMk id="130" creationId="{DEF374CB-7BBB-242E-AE94-2F66D357D7C8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52:07.423" v="1425"/>
          <ac:cxnSpMkLst>
            <pc:docMk/>
            <pc:sldMk cId="1935986274" sldId="1191"/>
            <ac:cxnSpMk id="131" creationId="{FD00B952-8315-D7F3-5CA1-60A9FCAD3CF7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52:07.423" v="1425"/>
          <ac:cxnSpMkLst>
            <pc:docMk/>
            <pc:sldMk cId="1935986274" sldId="1191"/>
            <ac:cxnSpMk id="138" creationId="{37E5A836-1F8D-EECD-52CB-23179BE23CC0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52:07.423" v="1425"/>
          <ac:cxnSpMkLst>
            <pc:docMk/>
            <pc:sldMk cId="1935986274" sldId="1191"/>
            <ac:cxnSpMk id="139" creationId="{B401F597-80A7-D1C0-5164-153FA965D8F2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52:07.423" v="1425"/>
          <ac:cxnSpMkLst>
            <pc:docMk/>
            <pc:sldMk cId="1935986274" sldId="1191"/>
            <ac:cxnSpMk id="140" creationId="{68F2D9D0-12FC-3A2D-9FE0-33DDD1295D7C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52:07.423" v="1425"/>
          <ac:cxnSpMkLst>
            <pc:docMk/>
            <pc:sldMk cId="1935986274" sldId="1191"/>
            <ac:cxnSpMk id="141" creationId="{12C55991-A60A-FB83-6E68-A99AAACCCCA3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52:07.423" v="1425"/>
          <ac:cxnSpMkLst>
            <pc:docMk/>
            <pc:sldMk cId="1935986274" sldId="1191"/>
            <ac:cxnSpMk id="142" creationId="{AC0F529C-56CF-5DDA-6276-68E253D92A66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52:07.423" v="1425"/>
          <ac:cxnSpMkLst>
            <pc:docMk/>
            <pc:sldMk cId="1935986274" sldId="1191"/>
            <ac:cxnSpMk id="143" creationId="{D99C7F9E-C4F2-34E4-DBFD-E4859BC28252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52:07.423" v="1425"/>
          <ac:cxnSpMkLst>
            <pc:docMk/>
            <pc:sldMk cId="1935986274" sldId="1191"/>
            <ac:cxnSpMk id="153" creationId="{BE94CB53-6397-FA67-2A23-C91623BA2C5F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52:07.423" v="1425"/>
          <ac:cxnSpMkLst>
            <pc:docMk/>
            <pc:sldMk cId="1935986274" sldId="1191"/>
            <ac:cxnSpMk id="154" creationId="{E31700D1-5B61-C820-23F9-8FC223C7FE5E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52:07.423" v="1425"/>
          <ac:cxnSpMkLst>
            <pc:docMk/>
            <pc:sldMk cId="1935986274" sldId="1191"/>
            <ac:cxnSpMk id="155" creationId="{ABFBC531-8454-CC4F-9D1A-AD80FB3068BC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52:07.423" v="1425"/>
          <ac:cxnSpMkLst>
            <pc:docMk/>
            <pc:sldMk cId="1935986274" sldId="1191"/>
            <ac:cxnSpMk id="156" creationId="{09F129CC-EEC5-67EA-8375-2B67031A1C29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52:07.423" v="1425"/>
          <ac:cxnSpMkLst>
            <pc:docMk/>
            <pc:sldMk cId="1935986274" sldId="1191"/>
            <ac:cxnSpMk id="157" creationId="{EBF4A9ED-166B-3F99-069C-1ACEAFA579AC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52:07.423" v="1425"/>
          <ac:cxnSpMkLst>
            <pc:docMk/>
            <pc:sldMk cId="1935986274" sldId="1191"/>
            <ac:cxnSpMk id="158" creationId="{9D93110A-9F36-501F-7A87-7C5CEE144C5D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52:07.423" v="1425"/>
          <ac:cxnSpMkLst>
            <pc:docMk/>
            <pc:sldMk cId="1935986274" sldId="1191"/>
            <ac:cxnSpMk id="170" creationId="{DB0F7732-99D5-7EFA-8669-70D35D2D1D12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52:07.423" v="1425"/>
          <ac:cxnSpMkLst>
            <pc:docMk/>
            <pc:sldMk cId="1935986274" sldId="1191"/>
            <ac:cxnSpMk id="171" creationId="{911ED0AA-AAF0-92E8-8CA0-6231E3C13F14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52:07.423" v="1425"/>
          <ac:cxnSpMkLst>
            <pc:docMk/>
            <pc:sldMk cId="1935986274" sldId="1191"/>
            <ac:cxnSpMk id="172" creationId="{2275055F-C861-F8D8-B55A-1A7CF3F76751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52:07.423" v="1425"/>
          <ac:cxnSpMkLst>
            <pc:docMk/>
            <pc:sldMk cId="1935986274" sldId="1191"/>
            <ac:cxnSpMk id="173" creationId="{B800CB0F-2284-7FAC-D46A-0C8355A0285E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52:07.423" v="1425"/>
          <ac:cxnSpMkLst>
            <pc:docMk/>
            <pc:sldMk cId="1935986274" sldId="1191"/>
            <ac:cxnSpMk id="174" creationId="{0AF1785B-D9F6-4D50-764B-D4217CD8EAB2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52:07.423" v="1425"/>
          <ac:cxnSpMkLst>
            <pc:docMk/>
            <pc:sldMk cId="1935986274" sldId="1191"/>
            <ac:cxnSpMk id="175" creationId="{6B298FB8-01E6-B453-140E-E5F6FF09ECAA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52:07.423" v="1425"/>
          <ac:cxnSpMkLst>
            <pc:docMk/>
            <pc:sldMk cId="1935986274" sldId="1191"/>
            <ac:cxnSpMk id="186" creationId="{4AEE06C2-39EA-CC5A-A4F7-A307C28615C6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52:07.423" v="1425"/>
          <ac:cxnSpMkLst>
            <pc:docMk/>
            <pc:sldMk cId="1935986274" sldId="1191"/>
            <ac:cxnSpMk id="187" creationId="{3C94CE8D-23CA-A19F-7F66-0528515E0E24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52:07.423" v="1425"/>
          <ac:cxnSpMkLst>
            <pc:docMk/>
            <pc:sldMk cId="1935986274" sldId="1191"/>
            <ac:cxnSpMk id="188" creationId="{23DFABB7-3183-27A4-2725-ED8123686B10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52:07.423" v="1425"/>
          <ac:cxnSpMkLst>
            <pc:docMk/>
            <pc:sldMk cId="1935986274" sldId="1191"/>
            <ac:cxnSpMk id="189" creationId="{7D4A070C-7830-0305-81C5-E9DA8B65DBFA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52:07.423" v="1425"/>
          <ac:cxnSpMkLst>
            <pc:docMk/>
            <pc:sldMk cId="1935986274" sldId="1191"/>
            <ac:cxnSpMk id="190" creationId="{F48B4A2C-9864-5F6A-232C-9C328405C0D8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52:07.423" v="1425"/>
          <ac:cxnSpMkLst>
            <pc:docMk/>
            <pc:sldMk cId="1935986274" sldId="1191"/>
            <ac:cxnSpMk id="191" creationId="{0F38A18F-9166-F180-45C3-6541B7CE388E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52:07.423" v="1425"/>
          <ac:cxnSpMkLst>
            <pc:docMk/>
            <pc:sldMk cId="1935986274" sldId="1191"/>
            <ac:cxnSpMk id="204" creationId="{C06E6BBF-CAC1-F1DB-F674-6A8CDF99D8F2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52:07.423" v="1425"/>
          <ac:cxnSpMkLst>
            <pc:docMk/>
            <pc:sldMk cId="1935986274" sldId="1191"/>
            <ac:cxnSpMk id="205" creationId="{0A596D70-A6E6-B382-88E2-CF1050C0DB17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52:07.423" v="1425"/>
          <ac:cxnSpMkLst>
            <pc:docMk/>
            <pc:sldMk cId="1935986274" sldId="1191"/>
            <ac:cxnSpMk id="206" creationId="{BCC1B645-E7C2-BCFB-389B-B35F0A20A4F8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52:07.423" v="1425"/>
          <ac:cxnSpMkLst>
            <pc:docMk/>
            <pc:sldMk cId="1935986274" sldId="1191"/>
            <ac:cxnSpMk id="207" creationId="{0CA2137C-E362-FAF2-70C9-2F6D457B2EAF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52:07.423" v="1425"/>
          <ac:cxnSpMkLst>
            <pc:docMk/>
            <pc:sldMk cId="1935986274" sldId="1191"/>
            <ac:cxnSpMk id="208" creationId="{ADCCAFC6-27A6-04A2-C3BC-9E46BBDDA819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52:07.423" v="1425"/>
          <ac:cxnSpMkLst>
            <pc:docMk/>
            <pc:sldMk cId="1935986274" sldId="1191"/>
            <ac:cxnSpMk id="209" creationId="{D7C7CA15-B4B9-84EC-F188-3DFB2CD7E780}"/>
          </ac:cxnSpMkLst>
        </pc:cxnChg>
        <pc:cxnChg chg="add mod">
          <ac:chgData name="Devraj, Keerthi (DI SW ICS DVT CSF DV FS)" userId="a61e6969-d85e-42d5-913e-c7fe6fb96353" providerId="ADAL" clId="{8D2B4F8B-645F-482E-A867-56D9A41DB3EB}" dt="2023-11-15T09:52:11.192" v="1426" actId="164"/>
          <ac:cxnSpMkLst>
            <pc:docMk/>
            <pc:sldMk cId="1935986274" sldId="1191"/>
            <ac:cxnSpMk id="213" creationId="{B00331D0-BB73-1D57-09A9-D0FD898F46D7}"/>
          </ac:cxnSpMkLst>
        </pc:cxnChg>
      </pc:sldChg>
      <pc:sldChg chg="addSp delSp modSp add mod">
        <pc:chgData name="Devraj, Keerthi (DI SW ICS DVT CSF DV FS)" userId="a61e6969-d85e-42d5-913e-c7fe6fb96353" providerId="ADAL" clId="{8D2B4F8B-645F-482E-A867-56D9A41DB3EB}" dt="2023-11-15T11:54:23.065" v="2306" actId="20577"/>
        <pc:sldMkLst>
          <pc:docMk/>
          <pc:sldMk cId="3629113611" sldId="1192"/>
        </pc:sldMkLst>
        <pc:spChg chg="del">
          <ac:chgData name="Devraj, Keerthi (DI SW ICS DVT CSF DV FS)" userId="a61e6969-d85e-42d5-913e-c7fe6fb96353" providerId="ADAL" clId="{8D2B4F8B-645F-482E-A867-56D9A41DB3EB}" dt="2023-11-15T09:53:32.989" v="1449" actId="478"/>
          <ac:spMkLst>
            <pc:docMk/>
            <pc:sldMk cId="3629113611" sldId="1192"/>
            <ac:spMk id="2" creationId="{30A59CE0-18CE-9447-F486-84039784745F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55:05.408" v="2084" actId="1076"/>
          <ac:spMkLst>
            <pc:docMk/>
            <pc:sldMk cId="3629113611" sldId="1192"/>
            <ac:spMk id="4" creationId="{38F06318-C288-FE6E-9789-DF25140EFB6E}"/>
          </ac:spMkLst>
        </pc:spChg>
        <pc:spChg chg="add mod">
          <ac:chgData name="Devraj, Keerthi (DI SW ICS DVT CSF DV FS)" userId="a61e6969-d85e-42d5-913e-c7fe6fb96353" providerId="ADAL" clId="{8D2B4F8B-645F-482E-A867-56D9A41DB3EB}" dt="2023-11-15T11:01:11.304" v="2259" actId="207"/>
          <ac:spMkLst>
            <pc:docMk/>
            <pc:sldMk cId="3629113611" sldId="1192"/>
            <ac:spMk id="5" creationId="{A0E7D3CA-D7B5-9D6F-B3EC-A46D965ECE4D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50.719" v="2081" actId="207"/>
          <ac:spMkLst>
            <pc:docMk/>
            <pc:sldMk cId="3629113611" sldId="1192"/>
            <ac:spMk id="7" creationId="{17B4F477-A231-318C-8C5F-C3EC5CA818D5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41.184" v="2079"/>
          <ac:spMkLst>
            <pc:docMk/>
            <pc:sldMk cId="3629113611" sldId="1192"/>
            <ac:spMk id="14" creationId="{A408F9A2-1912-5A25-9D21-312BC8F31479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41.184" v="2079"/>
          <ac:spMkLst>
            <pc:docMk/>
            <pc:sldMk cId="3629113611" sldId="1192"/>
            <ac:spMk id="15" creationId="{13E7C145-1E2C-9B79-8F46-7258AEEA8FBD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41.184" v="2079"/>
          <ac:spMkLst>
            <pc:docMk/>
            <pc:sldMk cId="3629113611" sldId="1192"/>
            <ac:spMk id="16" creationId="{1E599F7D-674F-D388-E6D2-257532A89E5B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41.184" v="2079"/>
          <ac:spMkLst>
            <pc:docMk/>
            <pc:sldMk cId="3629113611" sldId="1192"/>
            <ac:spMk id="20" creationId="{1CC85406-A56C-3432-8A44-95D19F957774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41.184" v="2079"/>
          <ac:spMkLst>
            <pc:docMk/>
            <pc:sldMk cId="3629113611" sldId="1192"/>
            <ac:spMk id="21" creationId="{74C2EA08-3783-02A6-82B0-E7DC24BE1F31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41.184" v="2079"/>
          <ac:spMkLst>
            <pc:docMk/>
            <pc:sldMk cId="3629113611" sldId="1192"/>
            <ac:spMk id="22" creationId="{E1292DF7-9EB4-EB05-A590-FE97ADB9BC24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41.184" v="2079"/>
          <ac:spMkLst>
            <pc:docMk/>
            <pc:sldMk cId="3629113611" sldId="1192"/>
            <ac:spMk id="23" creationId="{8B4C8D8F-D4F8-E2B2-EA92-ABFE64646216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41.184" v="2079"/>
          <ac:spMkLst>
            <pc:docMk/>
            <pc:sldMk cId="3629113611" sldId="1192"/>
            <ac:spMk id="24" creationId="{BF1A24BE-B27F-9575-849C-74CDD29628EB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41.184" v="2079"/>
          <ac:spMkLst>
            <pc:docMk/>
            <pc:sldMk cId="3629113611" sldId="1192"/>
            <ac:spMk id="25" creationId="{88E8F3B2-D6D2-4C83-00D2-D74521F27D85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41.184" v="2079"/>
          <ac:spMkLst>
            <pc:docMk/>
            <pc:sldMk cId="3629113611" sldId="1192"/>
            <ac:spMk id="26" creationId="{CC51F088-C494-6C13-9726-0038673A5C76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41.184" v="2079"/>
          <ac:spMkLst>
            <pc:docMk/>
            <pc:sldMk cId="3629113611" sldId="1192"/>
            <ac:spMk id="27" creationId="{73F5B89B-A1EB-5389-6284-60B297476911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41.184" v="2079"/>
          <ac:spMkLst>
            <pc:docMk/>
            <pc:sldMk cId="3629113611" sldId="1192"/>
            <ac:spMk id="54" creationId="{0B52ECB9-24AC-0AD1-2A70-874978E72536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41.184" v="2079"/>
          <ac:spMkLst>
            <pc:docMk/>
            <pc:sldMk cId="3629113611" sldId="1192"/>
            <ac:spMk id="55" creationId="{D564754C-B18A-102D-82AF-7DA9DFA76DB1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41.184" v="2079"/>
          <ac:spMkLst>
            <pc:docMk/>
            <pc:sldMk cId="3629113611" sldId="1192"/>
            <ac:spMk id="56" creationId="{567BBA26-F1D7-963B-93C3-C2D9EA969EAE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41.184" v="2079"/>
          <ac:spMkLst>
            <pc:docMk/>
            <pc:sldMk cId="3629113611" sldId="1192"/>
            <ac:spMk id="58" creationId="{0716AAC3-AA61-691A-220B-6F262C90EE54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41.184" v="2079"/>
          <ac:spMkLst>
            <pc:docMk/>
            <pc:sldMk cId="3629113611" sldId="1192"/>
            <ac:spMk id="59" creationId="{994AC19B-01DC-DF36-9019-CE504CCF8A41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41.184" v="2079"/>
          <ac:spMkLst>
            <pc:docMk/>
            <pc:sldMk cId="3629113611" sldId="1192"/>
            <ac:spMk id="60" creationId="{676370E1-10D3-6940-5277-88D3FCABF91E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41.184" v="2079"/>
          <ac:spMkLst>
            <pc:docMk/>
            <pc:sldMk cId="3629113611" sldId="1192"/>
            <ac:spMk id="61" creationId="{E7CBA72E-753B-C9AA-ADEB-E820DE0184A7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41.184" v="2079"/>
          <ac:spMkLst>
            <pc:docMk/>
            <pc:sldMk cId="3629113611" sldId="1192"/>
            <ac:spMk id="65" creationId="{33EC8316-EDFF-6966-9CA2-802CDCE2B357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41.184" v="2079"/>
          <ac:spMkLst>
            <pc:docMk/>
            <pc:sldMk cId="3629113611" sldId="1192"/>
            <ac:spMk id="69" creationId="{3790F03E-3692-8FF2-6B5F-D6B8B3A01518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41.184" v="2079"/>
          <ac:spMkLst>
            <pc:docMk/>
            <pc:sldMk cId="3629113611" sldId="1192"/>
            <ac:spMk id="70" creationId="{EB238275-A081-1F2E-8EC4-BA6C538CDD7F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41.184" v="2079"/>
          <ac:spMkLst>
            <pc:docMk/>
            <pc:sldMk cId="3629113611" sldId="1192"/>
            <ac:spMk id="71" creationId="{8FD40F11-E9A6-B30A-C561-C7588A99D91D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41.184" v="2079"/>
          <ac:spMkLst>
            <pc:docMk/>
            <pc:sldMk cId="3629113611" sldId="1192"/>
            <ac:spMk id="72" creationId="{BE9576C6-78BC-2AA5-2BDD-E16ECE906543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41.184" v="2079"/>
          <ac:spMkLst>
            <pc:docMk/>
            <pc:sldMk cId="3629113611" sldId="1192"/>
            <ac:spMk id="73" creationId="{2ABF69CE-B291-6CBE-CB2F-4507586CEC8D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41.184" v="2079"/>
          <ac:spMkLst>
            <pc:docMk/>
            <pc:sldMk cId="3629113611" sldId="1192"/>
            <ac:spMk id="74" creationId="{B5D57293-C56D-C6C6-0638-3C15BC00D020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41.184" v="2079"/>
          <ac:spMkLst>
            <pc:docMk/>
            <pc:sldMk cId="3629113611" sldId="1192"/>
            <ac:spMk id="75" creationId="{5284BA09-1587-2A23-B2BB-F355025BCD84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41.184" v="2079"/>
          <ac:spMkLst>
            <pc:docMk/>
            <pc:sldMk cId="3629113611" sldId="1192"/>
            <ac:spMk id="79" creationId="{AF1E3E20-0B15-4E93-8470-A3CF02F9AFE7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41.184" v="2079"/>
          <ac:spMkLst>
            <pc:docMk/>
            <pc:sldMk cId="3629113611" sldId="1192"/>
            <ac:spMk id="83" creationId="{C16ACB5C-1215-C99C-87D4-29FD3582F3F9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41.184" v="2079"/>
          <ac:spMkLst>
            <pc:docMk/>
            <pc:sldMk cId="3629113611" sldId="1192"/>
            <ac:spMk id="84" creationId="{74CF62F6-3EA3-BAAA-1AFB-EDCE1B4E08DC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41.184" v="2079"/>
          <ac:spMkLst>
            <pc:docMk/>
            <pc:sldMk cId="3629113611" sldId="1192"/>
            <ac:spMk id="88" creationId="{07F25427-6383-4DCA-96FD-44FA1A96CFA2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41.184" v="2079"/>
          <ac:spMkLst>
            <pc:docMk/>
            <pc:sldMk cId="3629113611" sldId="1192"/>
            <ac:spMk id="92" creationId="{BBADD068-DB89-A514-D6CA-976CBCC414F2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41.184" v="2079"/>
          <ac:spMkLst>
            <pc:docMk/>
            <pc:sldMk cId="3629113611" sldId="1192"/>
            <ac:spMk id="93" creationId="{75C937FF-11C3-9626-FA20-E44D5095B55B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41.184" v="2079"/>
          <ac:spMkLst>
            <pc:docMk/>
            <pc:sldMk cId="3629113611" sldId="1192"/>
            <ac:spMk id="94" creationId="{2EA84768-A409-1B16-A0C5-1EEE14681F2E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41.184" v="2079"/>
          <ac:spMkLst>
            <pc:docMk/>
            <pc:sldMk cId="3629113611" sldId="1192"/>
            <ac:spMk id="98" creationId="{7855150B-E255-9672-A41A-C9D0E755BE54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41.184" v="2079"/>
          <ac:spMkLst>
            <pc:docMk/>
            <pc:sldMk cId="3629113611" sldId="1192"/>
            <ac:spMk id="102" creationId="{71918FB7-287A-EC10-F74D-47F6296CC4E4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41.184" v="2079"/>
          <ac:spMkLst>
            <pc:docMk/>
            <pc:sldMk cId="3629113611" sldId="1192"/>
            <ac:spMk id="103" creationId="{DB596E5D-EBF3-5934-5849-93DC74199114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41.184" v="2079"/>
          <ac:spMkLst>
            <pc:docMk/>
            <pc:sldMk cId="3629113611" sldId="1192"/>
            <ac:spMk id="107" creationId="{9A03D954-B08F-D03E-F5AB-DCDCC29ECA2F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41.184" v="2079"/>
          <ac:spMkLst>
            <pc:docMk/>
            <pc:sldMk cId="3629113611" sldId="1192"/>
            <ac:spMk id="111" creationId="{A1EB5CC0-0790-06B1-1F91-82FF739C5AFA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41.184" v="2079"/>
          <ac:spMkLst>
            <pc:docMk/>
            <pc:sldMk cId="3629113611" sldId="1192"/>
            <ac:spMk id="115" creationId="{D5F70748-3B85-C0BA-765D-7164935922C1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41.184" v="2079"/>
          <ac:spMkLst>
            <pc:docMk/>
            <pc:sldMk cId="3629113611" sldId="1192"/>
            <ac:spMk id="119" creationId="{C47841AA-F0DF-3581-1491-8F10EA550294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41.184" v="2079"/>
          <ac:spMkLst>
            <pc:docMk/>
            <pc:sldMk cId="3629113611" sldId="1192"/>
            <ac:spMk id="120" creationId="{8EC2DB6F-2139-7215-6487-05ACCCB66DCC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41.184" v="2079"/>
          <ac:spMkLst>
            <pc:docMk/>
            <pc:sldMk cId="3629113611" sldId="1192"/>
            <ac:spMk id="121" creationId="{3A4B1393-14AC-805D-0852-0F1B0885DFBF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41.184" v="2079"/>
          <ac:spMkLst>
            <pc:docMk/>
            <pc:sldMk cId="3629113611" sldId="1192"/>
            <ac:spMk id="125" creationId="{078A26CF-CF63-4C1B-71CC-7696F74C0749}"/>
          </ac:spMkLst>
        </pc:spChg>
        <pc:spChg chg="mod">
          <ac:chgData name="Devraj, Keerthi (DI SW ICS DVT CSF DV FS)" userId="a61e6969-d85e-42d5-913e-c7fe6fb96353" providerId="ADAL" clId="{8D2B4F8B-645F-482E-A867-56D9A41DB3EB}" dt="2023-11-15T10:54:41.184" v="2079"/>
          <ac:spMkLst>
            <pc:docMk/>
            <pc:sldMk cId="3629113611" sldId="1192"/>
            <ac:spMk id="129" creationId="{A00170C5-78A0-996E-A18D-AA463573EA9B}"/>
          </ac:spMkLst>
        </pc:spChg>
        <pc:spChg chg="add mod">
          <ac:chgData name="Devraj, Keerthi (DI SW ICS DVT CSF DV FS)" userId="a61e6969-d85e-42d5-913e-c7fe6fb96353" providerId="ADAL" clId="{8D2B4F8B-645F-482E-A867-56D9A41DB3EB}" dt="2023-11-15T11:54:23.065" v="2306" actId="20577"/>
          <ac:spMkLst>
            <pc:docMk/>
            <pc:sldMk cId="3629113611" sldId="1192"/>
            <ac:spMk id="130" creationId="{4D3DD35F-2776-D918-0DFB-B9A5C57506C7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54:47.076" v="2080"/>
          <ac:spMkLst>
            <pc:docMk/>
            <pc:sldMk cId="3629113611" sldId="1192"/>
            <ac:spMk id="131" creationId="{FA75D8CD-A231-9041-AF3D-1506BC743C3A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54:47.076" v="2080"/>
          <ac:spMkLst>
            <pc:docMk/>
            <pc:sldMk cId="3629113611" sldId="1192"/>
            <ac:spMk id="132" creationId="{48A5F491-6B68-ED73-BB31-47442AC90D27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54:47.076" v="2080"/>
          <ac:spMkLst>
            <pc:docMk/>
            <pc:sldMk cId="3629113611" sldId="1192"/>
            <ac:spMk id="133" creationId="{FC74A235-159B-B4FA-827F-ACD2973A13BB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54:47.076" v="2080"/>
          <ac:spMkLst>
            <pc:docMk/>
            <pc:sldMk cId="3629113611" sldId="1192"/>
            <ac:spMk id="134" creationId="{42F2BD2E-543F-2BB1-9A47-B3F8C15B9B8D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54:47.076" v="2080"/>
          <ac:spMkLst>
            <pc:docMk/>
            <pc:sldMk cId="3629113611" sldId="1192"/>
            <ac:spMk id="135" creationId="{1FF864F3-5C95-C4FE-C349-3CFD580F828E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54:47.076" v="2080"/>
          <ac:spMkLst>
            <pc:docMk/>
            <pc:sldMk cId="3629113611" sldId="1192"/>
            <ac:spMk id="136" creationId="{32A3C641-9592-9A3D-98B7-86DB4FF40A9A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54:47.076" v="2080"/>
          <ac:spMkLst>
            <pc:docMk/>
            <pc:sldMk cId="3629113611" sldId="1192"/>
            <ac:spMk id="137" creationId="{530C8C58-2013-C438-39C4-4D9E5ABC8E24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54:47.076" v="2080"/>
          <ac:spMkLst>
            <pc:docMk/>
            <pc:sldMk cId="3629113611" sldId="1192"/>
            <ac:spMk id="138" creationId="{E605B3CB-4B3B-24C9-BFB2-04C86FC893DE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54:47.076" v="2080"/>
          <ac:spMkLst>
            <pc:docMk/>
            <pc:sldMk cId="3629113611" sldId="1192"/>
            <ac:spMk id="139" creationId="{8DAF71E6-EC71-79BE-68D7-A37E4EE0D983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54:47.076" v="2080"/>
          <ac:spMkLst>
            <pc:docMk/>
            <pc:sldMk cId="3629113611" sldId="1192"/>
            <ac:spMk id="140" creationId="{89988275-496E-6629-7778-82CF53DB1FB0}"/>
          </ac:spMkLst>
        </pc:spChg>
        <pc:grpChg chg="add mod">
          <ac:chgData name="Devraj, Keerthi (DI SW ICS DVT CSF DV FS)" userId="a61e6969-d85e-42d5-913e-c7fe6fb96353" providerId="ADAL" clId="{8D2B4F8B-645F-482E-A867-56D9A41DB3EB}" dt="2023-11-15T10:54:41.184" v="2079"/>
          <ac:grpSpMkLst>
            <pc:docMk/>
            <pc:sldMk cId="3629113611" sldId="1192"/>
            <ac:grpSpMk id="6" creationId="{4025F71B-CB12-9AD2-87A1-2F1A89DF0CD5}"/>
          </ac:grpSpMkLst>
        </pc:grpChg>
        <pc:grpChg chg="mod">
          <ac:chgData name="Devraj, Keerthi (DI SW ICS DVT CSF DV FS)" userId="a61e6969-d85e-42d5-913e-c7fe6fb96353" providerId="ADAL" clId="{8D2B4F8B-645F-482E-A867-56D9A41DB3EB}" dt="2023-11-15T10:54:41.184" v="2079"/>
          <ac:grpSpMkLst>
            <pc:docMk/>
            <pc:sldMk cId="3629113611" sldId="1192"/>
            <ac:grpSpMk id="8" creationId="{07B20C36-DF7E-AE81-93FD-3BEC3C4B5F42}"/>
          </ac:grpSpMkLst>
        </pc:grpChg>
        <pc:grpChg chg="mod">
          <ac:chgData name="Devraj, Keerthi (DI SW ICS DVT CSF DV FS)" userId="a61e6969-d85e-42d5-913e-c7fe6fb96353" providerId="ADAL" clId="{8D2B4F8B-645F-482E-A867-56D9A41DB3EB}" dt="2023-11-15T10:54:41.184" v="2079"/>
          <ac:grpSpMkLst>
            <pc:docMk/>
            <pc:sldMk cId="3629113611" sldId="1192"/>
            <ac:grpSpMk id="9" creationId="{4ED5FE6C-21C4-83AB-7D31-B37DC8CC9ABF}"/>
          </ac:grpSpMkLst>
        </pc:grpChg>
        <pc:grpChg chg="mod">
          <ac:chgData name="Devraj, Keerthi (DI SW ICS DVT CSF DV FS)" userId="a61e6969-d85e-42d5-913e-c7fe6fb96353" providerId="ADAL" clId="{8D2B4F8B-645F-482E-A867-56D9A41DB3EB}" dt="2023-11-15T10:54:41.184" v="2079"/>
          <ac:grpSpMkLst>
            <pc:docMk/>
            <pc:sldMk cId="3629113611" sldId="1192"/>
            <ac:grpSpMk id="10" creationId="{10F39555-322A-E410-AEDD-B85B08A4D71A}"/>
          </ac:grpSpMkLst>
        </pc:grpChg>
        <pc:grpChg chg="mod">
          <ac:chgData name="Devraj, Keerthi (DI SW ICS DVT CSF DV FS)" userId="a61e6969-d85e-42d5-913e-c7fe6fb96353" providerId="ADAL" clId="{8D2B4F8B-645F-482E-A867-56D9A41DB3EB}" dt="2023-11-15T10:54:41.184" v="2079"/>
          <ac:grpSpMkLst>
            <pc:docMk/>
            <pc:sldMk cId="3629113611" sldId="1192"/>
            <ac:grpSpMk id="11" creationId="{0792B346-6924-C842-E2BB-7BB427FE1796}"/>
          </ac:grpSpMkLst>
        </pc:grpChg>
        <pc:grpChg chg="mod">
          <ac:chgData name="Devraj, Keerthi (DI SW ICS DVT CSF DV FS)" userId="a61e6969-d85e-42d5-913e-c7fe6fb96353" providerId="ADAL" clId="{8D2B4F8B-645F-482E-A867-56D9A41DB3EB}" dt="2023-11-15T10:54:41.184" v="2079"/>
          <ac:grpSpMkLst>
            <pc:docMk/>
            <pc:sldMk cId="3629113611" sldId="1192"/>
            <ac:grpSpMk id="12" creationId="{31AE886F-8BA1-FC5B-A330-8C894120C69F}"/>
          </ac:grpSpMkLst>
        </pc:grpChg>
        <pc:grpChg chg="mod">
          <ac:chgData name="Devraj, Keerthi (DI SW ICS DVT CSF DV FS)" userId="a61e6969-d85e-42d5-913e-c7fe6fb96353" providerId="ADAL" clId="{8D2B4F8B-645F-482E-A867-56D9A41DB3EB}" dt="2023-11-15T10:54:41.184" v="2079"/>
          <ac:grpSpMkLst>
            <pc:docMk/>
            <pc:sldMk cId="3629113611" sldId="1192"/>
            <ac:grpSpMk id="13" creationId="{D024D6EE-E6C9-053A-9DEF-F36323647490}"/>
          </ac:grpSpMkLst>
        </pc:grpChg>
        <pc:grpChg chg="mod">
          <ac:chgData name="Devraj, Keerthi (DI SW ICS DVT CSF DV FS)" userId="a61e6969-d85e-42d5-913e-c7fe6fb96353" providerId="ADAL" clId="{8D2B4F8B-645F-482E-A867-56D9A41DB3EB}" dt="2023-11-15T10:54:41.184" v="2079"/>
          <ac:grpSpMkLst>
            <pc:docMk/>
            <pc:sldMk cId="3629113611" sldId="1192"/>
            <ac:grpSpMk id="17" creationId="{590ED55B-C911-3718-90D4-2E54910D764C}"/>
          </ac:grpSpMkLst>
        </pc:grpChg>
        <pc:grpChg chg="mod">
          <ac:chgData name="Devraj, Keerthi (DI SW ICS DVT CSF DV FS)" userId="a61e6969-d85e-42d5-913e-c7fe6fb96353" providerId="ADAL" clId="{8D2B4F8B-645F-482E-A867-56D9A41DB3EB}" dt="2023-11-15T10:54:41.184" v="2079"/>
          <ac:grpSpMkLst>
            <pc:docMk/>
            <pc:sldMk cId="3629113611" sldId="1192"/>
            <ac:grpSpMk id="18" creationId="{61FD0722-2882-6323-1972-5B02AB8674EB}"/>
          </ac:grpSpMkLst>
        </pc:grpChg>
        <pc:grpChg chg="mod">
          <ac:chgData name="Devraj, Keerthi (DI SW ICS DVT CSF DV FS)" userId="a61e6969-d85e-42d5-913e-c7fe6fb96353" providerId="ADAL" clId="{8D2B4F8B-645F-482E-A867-56D9A41DB3EB}" dt="2023-11-15T10:54:41.184" v="2079"/>
          <ac:grpSpMkLst>
            <pc:docMk/>
            <pc:sldMk cId="3629113611" sldId="1192"/>
            <ac:grpSpMk id="53" creationId="{7991B40F-0FCC-5D39-ACAF-50088A59EF67}"/>
          </ac:grpSpMkLst>
        </pc:grpChg>
        <pc:grpChg chg="mod">
          <ac:chgData name="Devraj, Keerthi (DI SW ICS DVT CSF DV FS)" userId="a61e6969-d85e-42d5-913e-c7fe6fb96353" providerId="ADAL" clId="{8D2B4F8B-645F-482E-A867-56D9A41DB3EB}" dt="2023-11-15T10:54:41.184" v="2079"/>
          <ac:grpSpMkLst>
            <pc:docMk/>
            <pc:sldMk cId="3629113611" sldId="1192"/>
            <ac:grpSpMk id="57" creationId="{75E0CDEB-2C81-4077-2C36-F30C1B762DBF}"/>
          </ac:grpSpMkLst>
        </pc:grpChg>
        <pc:picChg chg="mod">
          <ac:chgData name="Devraj, Keerthi (DI SW ICS DVT CSF DV FS)" userId="a61e6969-d85e-42d5-913e-c7fe6fb96353" providerId="ADAL" clId="{8D2B4F8B-645F-482E-A867-56D9A41DB3EB}" dt="2023-11-15T10:54:41.184" v="2079"/>
          <ac:picMkLst>
            <pc:docMk/>
            <pc:sldMk cId="3629113611" sldId="1192"/>
            <ac:picMk id="19" creationId="{99FD7D6E-8EBA-30FE-CCA1-E1A0D727AE14}"/>
          </ac:picMkLst>
        </pc:pic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28" creationId="{0916F113-CFF3-6DB5-B019-7C60508400E1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29" creationId="{E2FF9F74-7459-BBDB-4866-BFEA9D156405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30" creationId="{30A8D9FB-4243-9995-A990-35AF869B78D8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31" creationId="{0B227C8C-07B5-C2F5-76EB-5EBCDBC619A2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32" creationId="{FF0758D4-9273-CFF2-74C6-EABCD66B4A0E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33" creationId="{F11C6C63-2ADF-8CF1-F669-A31CC74E562B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34" creationId="{F749B426-DEBA-E17E-1A3E-D2E96B287CF8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35" creationId="{B89DB698-60E9-66F9-BB3F-0AE7C498AFC8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36" creationId="{A06187F7-4EA1-A153-86BE-9CBB012C3136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37" creationId="{2B28F72A-FDB2-528F-B893-0C0CF4422BB8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38" creationId="{F24A4729-DFD6-6968-AC25-2110009A521F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39" creationId="{CCA44E5C-2EEC-4CCC-EE27-DF0C088498D6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40" creationId="{947E5D0A-592D-B779-A5C1-0054440C15D9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41" creationId="{83933BE8-5C30-7733-2D28-48A6D9CF01B8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42" creationId="{491F0AB0-9B58-2C83-9C6C-1DEF94F6C3FB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43" creationId="{D20680C1-5F84-377C-3343-72DECD9F56ED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44" creationId="{5F17F9FB-1584-FCE1-9F48-2B070F6D9D81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45" creationId="{C89837A2-EBBD-E6FB-8191-88996C996DDF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46" creationId="{3A3E9C46-E863-21AF-0302-6EFF58E67FC9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47" creationId="{634FB6FB-6A70-6D3E-B45A-0EA6A0B93401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48" creationId="{CDED15B2-58C1-137B-ED91-E96E80452000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49" creationId="{D4FEF568-F5C5-021B-83C0-A7FDE3388003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50" creationId="{3CC7594B-18E3-8595-31EF-92BEEA0704E5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51" creationId="{88589FAA-B089-692F-91EA-54C47ECBD1FC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52" creationId="{B041C3BC-EE46-7B03-7968-8AB8366BDEEC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62" creationId="{7846A65B-926A-3701-1C3D-8B6C9CDF04FC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63" creationId="{AFAF317F-B424-F93F-C75C-7327ED20B551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64" creationId="{D331730B-F2E9-166D-108D-784DCAD3E1E5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66" creationId="{39F711A3-FD6A-EBA7-7284-2F0DD5D07270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67" creationId="{F0C26CB6-EFFE-B718-FB3B-DABDBAF3BC7A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68" creationId="{74553721-BDEA-A1A1-5D27-DD0D9362E630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76" creationId="{A5F172B4-387B-BAF3-08BA-AF375CC96E4F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77" creationId="{0C1B45D4-7AFD-19FF-3D67-AFB03B391A4B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78" creationId="{2E262303-C250-000F-365C-0541E3C62FB5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80" creationId="{036B9974-0E31-0779-F9A6-60F4E523FAA8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81" creationId="{E5C4B257-1AC6-103C-9978-113A47D42D9A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82" creationId="{2E331524-F0E7-6B7A-5AE3-0DD7479EDA66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85" creationId="{ACF6AC24-253A-A8F5-0A9F-E5655A03B61D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86" creationId="{A52C8901-EFB5-DC87-86B2-71E0F513AD83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87" creationId="{42A2DAC0-25E8-3B36-C93F-C387DE7DCD5E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89" creationId="{A6959F8C-7AFD-1B19-1831-915EA86666C6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90" creationId="{59E0A98F-4456-4458-CBBA-1A6E7B7DEAEE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91" creationId="{F033358F-7E73-E21B-8F09-76E3AA0CDDC2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95" creationId="{BD828873-95A7-5DCA-F8FA-46237289C4BE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96" creationId="{64C82C2C-BF0D-3F45-0A11-07590E413900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97" creationId="{D57A13E0-1737-B4D2-3CE0-46903D06D127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99" creationId="{D8F4F892-1C84-D8FA-233F-D36F9B1E932B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100" creationId="{8B69CCDB-673F-9494-4652-65F226BB1A69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101" creationId="{C68FA0FC-EBC3-B56B-8757-63AE6255581A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104" creationId="{2E69D3BF-6D82-057D-9006-34003F355307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105" creationId="{E499EBCE-22FD-6C74-56BC-5C2B668A27B6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106" creationId="{87BDC495-D34B-775B-4417-4496D9978423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108" creationId="{F1A7D059-7824-0A9A-1AE5-DAA2BB3255B0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109" creationId="{50DDB28C-67BA-7468-2856-F8CFB841DF3B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110" creationId="{50C647FF-EB85-60A3-5CCB-85D20C2FDC51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112" creationId="{47C69522-94C9-3E28-258D-50E31F2BB11E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113" creationId="{12AAE217-007C-5E8C-7A3E-35B5201BCE0A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114" creationId="{428CE932-9DB4-2B45-9611-1BD091BDC578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116" creationId="{00848E8C-2FD1-A6F1-5A12-787C89A40893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117" creationId="{A6F5ADDC-2472-C6C5-EEEE-D573A3FABC7D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118" creationId="{E7AE4C24-622E-2D5B-66BC-7B3FB6425639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122" creationId="{3DAB2C50-8E92-7CD8-B327-D102E4924B25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123" creationId="{2E5E590A-DB1D-00F9-088A-FC6E0577C15E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124" creationId="{208E95CE-1C78-25D6-86B5-34768C7FD158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126" creationId="{4D86079C-DD7C-2B44-7067-2195E1729E79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127" creationId="{5EC87A2F-9BCD-F52F-0C87-3666247EA4DB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54:41.184" v="2079"/>
          <ac:cxnSpMkLst>
            <pc:docMk/>
            <pc:sldMk cId="3629113611" sldId="1192"/>
            <ac:cxnSpMk id="128" creationId="{8C7A95D4-7C1E-5FAE-9DDC-587D0041C623}"/>
          </ac:cxnSpMkLst>
        </pc:cxnChg>
      </pc:sldChg>
      <pc:sldChg chg="addSp modSp add mod modNotes">
        <pc:chgData name="Devraj, Keerthi (DI SW ICS DVT CSF DV FS)" userId="a61e6969-d85e-42d5-913e-c7fe6fb96353" providerId="ADAL" clId="{8D2B4F8B-645F-482E-A867-56D9A41DB3EB}" dt="2023-12-13T13:57:12.663" v="2772" actId="164"/>
        <pc:sldMkLst>
          <pc:docMk/>
          <pc:sldMk cId="1204851779" sldId="1193"/>
        </pc:sldMkLst>
        <pc:spChg chg="mod">
          <ac:chgData name="Devraj, Keerthi (DI SW ICS DVT CSF DV FS)" userId="a61e6969-d85e-42d5-913e-c7fe6fb96353" providerId="ADAL" clId="{8D2B4F8B-645F-482E-A867-56D9A41DB3EB}" dt="2023-11-15T12:36:21.463" v="2674" actId="6549"/>
          <ac:spMkLst>
            <pc:docMk/>
            <pc:sldMk cId="1204851779" sldId="1193"/>
            <ac:spMk id="2" creationId="{30A59CE0-18CE-9447-F486-84039784745F}"/>
          </ac:spMkLst>
        </pc:spChg>
        <pc:spChg chg="add mod">
          <ac:chgData name="Devraj, Keerthi (DI SW ICS DVT CSF DV FS)" userId="a61e6969-d85e-42d5-913e-c7fe6fb96353" providerId="ADAL" clId="{8D2B4F8B-645F-482E-A867-56D9A41DB3EB}" dt="2023-12-13T13:57:12.663" v="2772" actId="164"/>
          <ac:spMkLst>
            <pc:docMk/>
            <pc:sldMk cId="1204851779" sldId="1193"/>
            <ac:spMk id="5" creationId="{EC7FFD5C-45D9-37C1-7194-BFA60BF3330C}"/>
          </ac:spMkLst>
        </pc:spChg>
        <pc:spChg chg="mod">
          <ac:chgData name="Devraj, Keerthi (DI SW ICS DVT CSF DV FS)" userId="a61e6969-d85e-42d5-913e-c7fe6fb96353" providerId="ADAL" clId="{8D2B4F8B-645F-482E-A867-56D9A41DB3EB}" dt="2023-11-15T12:08:47.020" v="2616" actId="207"/>
          <ac:spMkLst>
            <pc:docMk/>
            <pc:sldMk cId="1204851779" sldId="1193"/>
            <ac:spMk id="7" creationId="{28C4F910-0E33-B14D-6167-F177F6E06175}"/>
          </ac:spMkLst>
        </pc:spChg>
        <pc:spChg chg="mod">
          <ac:chgData name="Devraj, Keerthi (DI SW ICS DVT CSF DV FS)" userId="a61e6969-d85e-42d5-913e-c7fe6fb96353" providerId="ADAL" clId="{8D2B4F8B-645F-482E-A867-56D9A41DB3EB}" dt="2023-11-15T12:08:51.246" v="2617" actId="207"/>
          <ac:spMkLst>
            <pc:docMk/>
            <pc:sldMk cId="1204851779" sldId="1193"/>
            <ac:spMk id="8" creationId="{9DE111C4-B14A-4D7A-1337-3FFBC12C306E}"/>
          </ac:spMkLst>
        </pc:spChg>
        <pc:spChg chg="mod">
          <ac:chgData name="Devraj, Keerthi (DI SW ICS DVT CSF DV FS)" userId="a61e6969-d85e-42d5-913e-c7fe6fb96353" providerId="ADAL" clId="{8D2B4F8B-645F-482E-A867-56D9A41DB3EB}" dt="2023-11-15T12:08:51.246" v="2617" actId="207"/>
          <ac:spMkLst>
            <pc:docMk/>
            <pc:sldMk cId="1204851779" sldId="1193"/>
            <ac:spMk id="9" creationId="{7EC58906-95C3-4D52-5834-CE7DE3AE9185}"/>
          </ac:spMkLst>
        </pc:spChg>
        <pc:spChg chg="mod">
          <ac:chgData name="Devraj, Keerthi (DI SW ICS DVT CSF DV FS)" userId="a61e6969-d85e-42d5-913e-c7fe6fb96353" providerId="ADAL" clId="{8D2B4F8B-645F-482E-A867-56D9A41DB3EB}" dt="2023-11-15T12:08:51.246" v="2617" actId="207"/>
          <ac:spMkLst>
            <pc:docMk/>
            <pc:sldMk cId="1204851779" sldId="1193"/>
            <ac:spMk id="10" creationId="{A18A9C9F-4413-3003-D7B5-A3A094AFF17C}"/>
          </ac:spMkLst>
        </pc:spChg>
        <pc:spChg chg="mod">
          <ac:chgData name="Devraj, Keerthi (DI SW ICS DVT CSF DV FS)" userId="a61e6969-d85e-42d5-913e-c7fe6fb96353" providerId="ADAL" clId="{8D2B4F8B-645F-482E-A867-56D9A41DB3EB}" dt="2023-11-15T12:08:51.246" v="2617" actId="207"/>
          <ac:spMkLst>
            <pc:docMk/>
            <pc:sldMk cId="1204851779" sldId="1193"/>
            <ac:spMk id="11" creationId="{C192D83C-E7EB-DE60-8830-6FDA7ABF1EE6}"/>
          </ac:spMkLst>
        </pc:spChg>
        <pc:spChg chg="mod">
          <ac:chgData name="Devraj, Keerthi (DI SW ICS DVT CSF DV FS)" userId="a61e6969-d85e-42d5-913e-c7fe6fb96353" providerId="ADAL" clId="{8D2B4F8B-645F-482E-A867-56D9A41DB3EB}" dt="2023-11-15T12:08:47.020" v="2616" actId="207"/>
          <ac:spMkLst>
            <pc:docMk/>
            <pc:sldMk cId="1204851779" sldId="1193"/>
            <ac:spMk id="12" creationId="{44947423-178B-0CE9-A877-83FB7D307339}"/>
          </ac:spMkLst>
        </pc:spChg>
        <pc:spChg chg="mod">
          <ac:chgData name="Devraj, Keerthi (DI SW ICS DVT CSF DV FS)" userId="a61e6969-d85e-42d5-913e-c7fe6fb96353" providerId="ADAL" clId="{8D2B4F8B-645F-482E-A867-56D9A41DB3EB}" dt="2023-11-15T12:08:36.610" v="2615"/>
          <ac:spMkLst>
            <pc:docMk/>
            <pc:sldMk cId="1204851779" sldId="1193"/>
            <ac:spMk id="13" creationId="{9620CF5A-70B4-2ABA-D2C5-04AB035DD697}"/>
          </ac:spMkLst>
        </pc:spChg>
        <pc:spChg chg="mod">
          <ac:chgData name="Devraj, Keerthi (DI SW ICS DVT CSF DV FS)" userId="a61e6969-d85e-42d5-913e-c7fe6fb96353" providerId="ADAL" clId="{8D2B4F8B-645F-482E-A867-56D9A41DB3EB}" dt="2023-11-15T12:08:36.610" v="2615"/>
          <ac:spMkLst>
            <pc:docMk/>
            <pc:sldMk cId="1204851779" sldId="1193"/>
            <ac:spMk id="16" creationId="{BAAB56E6-6E81-D0EE-C34A-3FA87A7B2FA4}"/>
          </ac:spMkLst>
        </pc:spChg>
        <pc:spChg chg="mod">
          <ac:chgData name="Devraj, Keerthi (DI SW ICS DVT CSF DV FS)" userId="a61e6969-d85e-42d5-913e-c7fe6fb96353" providerId="ADAL" clId="{8D2B4F8B-645F-482E-A867-56D9A41DB3EB}" dt="2023-11-15T12:16:08.472" v="2627" actId="207"/>
          <ac:spMkLst>
            <pc:docMk/>
            <pc:sldMk cId="1204851779" sldId="1193"/>
            <ac:spMk id="18" creationId="{FD8EBEDE-277A-796D-4B61-BF7AA3EC69E0}"/>
          </ac:spMkLst>
        </pc:spChg>
        <pc:spChg chg="mod">
          <ac:chgData name="Devraj, Keerthi (DI SW ICS DVT CSF DV FS)" userId="a61e6969-d85e-42d5-913e-c7fe6fb96353" providerId="ADAL" clId="{8D2B4F8B-645F-482E-A867-56D9A41DB3EB}" dt="2023-11-15T12:16:15.826" v="2628" actId="207"/>
          <ac:spMkLst>
            <pc:docMk/>
            <pc:sldMk cId="1204851779" sldId="1193"/>
            <ac:spMk id="20" creationId="{419EE007-FDD3-8241-49D5-384EAF4B43FE}"/>
          </ac:spMkLst>
        </pc:spChg>
        <pc:spChg chg="mod">
          <ac:chgData name="Devraj, Keerthi (DI SW ICS DVT CSF DV FS)" userId="a61e6969-d85e-42d5-913e-c7fe6fb96353" providerId="ADAL" clId="{8D2B4F8B-645F-482E-A867-56D9A41DB3EB}" dt="2023-11-15T12:16:19.286" v="2629" actId="207"/>
          <ac:spMkLst>
            <pc:docMk/>
            <pc:sldMk cId="1204851779" sldId="1193"/>
            <ac:spMk id="22" creationId="{14BCDDEC-91B4-300E-7980-863EB6C2F99E}"/>
          </ac:spMkLst>
        </pc:spChg>
        <pc:spChg chg="mod">
          <ac:chgData name="Devraj, Keerthi (DI SW ICS DVT CSF DV FS)" userId="a61e6969-d85e-42d5-913e-c7fe6fb96353" providerId="ADAL" clId="{8D2B4F8B-645F-482E-A867-56D9A41DB3EB}" dt="2023-11-15T12:08:36.610" v="2615"/>
          <ac:spMkLst>
            <pc:docMk/>
            <pc:sldMk cId="1204851779" sldId="1193"/>
            <ac:spMk id="23" creationId="{066CC73D-914A-0C49-53B1-CB5D62BB18B6}"/>
          </ac:spMkLst>
        </pc:spChg>
        <pc:spChg chg="mod">
          <ac:chgData name="Devraj, Keerthi (DI SW ICS DVT CSF DV FS)" userId="a61e6969-d85e-42d5-913e-c7fe6fb96353" providerId="ADAL" clId="{8D2B4F8B-645F-482E-A867-56D9A41DB3EB}" dt="2023-11-15T12:09:18" v="2619" actId="207"/>
          <ac:spMkLst>
            <pc:docMk/>
            <pc:sldMk cId="1204851779" sldId="1193"/>
            <ac:spMk id="24" creationId="{40B95C79-9D31-128E-8D1A-848EAA92C22E}"/>
          </ac:spMkLst>
        </pc:spChg>
        <pc:spChg chg="mod">
          <ac:chgData name="Devraj, Keerthi (DI SW ICS DVT CSF DV FS)" userId="a61e6969-d85e-42d5-913e-c7fe6fb96353" providerId="ADAL" clId="{8D2B4F8B-645F-482E-A867-56D9A41DB3EB}" dt="2023-11-15T12:08:36.610" v="2615"/>
          <ac:spMkLst>
            <pc:docMk/>
            <pc:sldMk cId="1204851779" sldId="1193"/>
            <ac:spMk id="26" creationId="{2DE177B4-D4F0-3DD7-0683-9FFEFB89DF73}"/>
          </ac:spMkLst>
        </pc:spChg>
        <pc:spChg chg="mod">
          <ac:chgData name="Devraj, Keerthi (DI SW ICS DVT CSF DV FS)" userId="a61e6969-d85e-42d5-913e-c7fe6fb96353" providerId="ADAL" clId="{8D2B4F8B-645F-482E-A867-56D9A41DB3EB}" dt="2023-11-15T12:08:36.610" v="2615"/>
          <ac:spMkLst>
            <pc:docMk/>
            <pc:sldMk cId="1204851779" sldId="1193"/>
            <ac:spMk id="27" creationId="{DD49B42C-695E-4563-B4DE-1328E074ACB5}"/>
          </ac:spMkLst>
        </pc:spChg>
        <pc:spChg chg="add mod">
          <ac:chgData name="Devraj, Keerthi (DI SW ICS DVT CSF DV FS)" userId="a61e6969-d85e-42d5-913e-c7fe6fb96353" providerId="ADAL" clId="{8D2B4F8B-645F-482E-A867-56D9A41DB3EB}" dt="2023-12-13T13:57:12.663" v="2772" actId="164"/>
          <ac:spMkLst>
            <pc:docMk/>
            <pc:sldMk cId="1204851779" sldId="1193"/>
            <ac:spMk id="28" creationId="{2978CA8E-CB9C-0904-3E48-399EDAFCBD7A}"/>
          </ac:spMkLst>
        </pc:spChg>
        <pc:spChg chg="add mod">
          <ac:chgData name="Devraj, Keerthi (DI SW ICS DVT CSF DV FS)" userId="a61e6969-d85e-42d5-913e-c7fe6fb96353" providerId="ADAL" clId="{8D2B4F8B-645F-482E-A867-56D9A41DB3EB}" dt="2023-12-13T13:57:12.663" v="2772" actId="164"/>
          <ac:spMkLst>
            <pc:docMk/>
            <pc:sldMk cId="1204851779" sldId="1193"/>
            <ac:spMk id="29" creationId="{07DB3EC8-3C40-F5CD-FD26-49C4C0D0FB6B}"/>
          </ac:spMkLst>
        </pc:spChg>
        <pc:grpChg chg="add mod">
          <ac:chgData name="Devraj, Keerthi (DI SW ICS DVT CSF DV FS)" userId="a61e6969-d85e-42d5-913e-c7fe6fb96353" providerId="ADAL" clId="{8D2B4F8B-645F-482E-A867-56D9A41DB3EB}" dt="2023-11-15T12:08:36.610" v="2615"/>
          <ac:grpSpMkLst>
            <pc:docMk/>
            <pc:sldMk cId="1204851779" sldId="1193"/>
            <ac:grpSpMk id="6" creationId="{67C4342B-9365-436E-600F-88FBBA25A463}"/>
          </ac:grpSpMkLst>
        </pc:grpChg>
        <pc:grpChg chg="add mod">
          <ac:chgData name="Devraj, Keerthi (DI SW ICS DVT CSF DV FS)" userId="a61e6969-d85e-42d5-913e-c7fe6fb96353" providerId="ADAL" clId="{8D2B4F8B-645F-482E-A867-56D9A41DB3EB}" dt="2023-12-13T13:57:12.663" v="2772" actId="164"/>
          <ac:grpSpMkLst>
            <pc:docMk/>
            <pc:sldMk cId="1204851779" sldId="1193"/>
            <ac:grpSpMk id="14" creationId="{0D326F9E-BD1C-D4AB-348C-DACD295C3F9D}"/>
          </ac:grpSpMkLst>
        </pc:grpChg>
        <pc:grpChg chg="mod">
          <ac:chgData name="Devraj, Keerthi (DI SW ICS DVT CSF DV FS)" userId="a61e6969-d85e-42d5-913e-c7fe6fb96353" providerId="ADAL" clId="{8D2B4F8B-645F-482E-A867-56D9A41DB3EB}" dt="2023-11-15T12:08:36.610" v="2615"/>
          <ac:grpSpMkLst>
            <pc:docMk/>
            <pc:sldMk cId="1204851779" sldId="1193"/>
            <ac:grpSpMk id="15" creationId="{F0A89EB1-E71F-E815-C747-75D401438430}"/>
          </ac:grpSpMkLst>
        </pc:grpChg>
        <pc:grpChg chg="mod">
          <ac:chgData name="Devraj, Keerthi (DI SW ICS DVT CSF DV FS)" userId="a61e6969-d85e-42d5-913e-c7fe6fb96353" providerId="ADAL" clId="{8D2B4F8B-645F-482E-A867-56D9A41DB3EB}" dt="2023-11-15T12:08:36.610" v="2615"/>
          <ac:grpSpMkLst>
            <pc:docMk/>
            <pc:sldMk cId="1204851779" sldId="1193"/>
            <ac:grpSpMk id="17" creationId="{8546E095-032B-E624-CB95-5635B7DA6F49}"/>
          </ac:grpSpMkLst>
        </pc:grpChg>
        <pc:grpChg chg="add mod">
          <ac:chgData name="Devraj, Keerthi (DI SW ICS DVT CSF DV FS)" userId="a61e6969-d85e-42d5-913e-c7fe6fb96353" providerId="ADAL" clId="{8D2B4F8B-645F-482E-A867-56D9A41DB3EB}" dt="2023-12-13T13:57:12.663" v="2772" actId="164"/>
          <ac:grpSpMkLst>
            <pc:docMk/>
            <pc:sldMk cId="1204851779" sldId="1193"/>
            <ac:grpSpMk id="30" creationId="{35BCE377-9131-8224-14D7-EE42B4FB96D4}"/>
          </ac:grpSpMkLst>
        </pc:grpChg>
        <pc:picChg chg="add mod">
          <ac:chgData name="Devraj, Keerthi (DI SW ICS DVT CSF DV FS)" userId="a61e6969-d85e-42d5-913e-c7fe6fb96353" providerId="ADAL" clId="{8D2B4F8B-645F-482E-A867-56D9A41DB3EB}" dt="2023-12-13T13:55:32.345" v="2771" actId="1076"/>
          <ac:picMkLst>
            <pc:docMk/>
            <pc:sldMk cId="1204851779" sldId="1193"/>
            <ac:picMk id="4" creationId="{0DAEB560-3B11-ADDF-2EEB-D64FAD376A60}"/>
          </ac:picMkLst>
        </pc:picChg>
        <pc:picChg chg="mod">
          <ac:chgData name="Devraj, Keerthi (DI SW ICS DVT CSF DV FS)" userId="a61e6969-d85e-42d5-913e-c7fe6fb96353" providerId="ADAL" clId="{8D2B4F8B-645F-482E-A867-56D9A41DB3EB}" dt="2023-11-15T12:08:36.610" v="2615"/>
          <ac:picMkLst>
            <pc:docMk/>
            <pc:sldMk cId="1204851779" sldId="1193"/>
            <ac:picMk id="19" creationId="{00F0B6D3-07F8-2A52-CBEF-8CE89EF42C4A}"/>
          </ac:picMkLst>
        </pc:picChg>
        <pc:picChg chg="mod">
          <ac:chgData name="Devraj, Keerthi (DI SW ICS DVT CSF DV FS)" userId="a61e6969-d85e-42d5-913e-c7fe6fb96353" providerId="ADAL" clId="{8D2B4F8B-645F-482E-A867-56D9A41DB3EB}" dt="2023-11-15T12:08:36.610" v="2615"/>
          <ac:picMkLst>
            <pc:docMk/>
            <pc:sldMk cId="1204851779" sldId="1193"/>
            <ac:picMk id="21" creationId="{C83A29E6-B8F2-D050-5CFA-3CBF571226EE}"/>
          </ac:picMkLst>
        </pc:picChg>
        <pc:picChg chg="mod">
          <ac:chgData name="Devraj, Keerthi (DI SW ICS DVT CSF DV FS)" userId="a61e6969-d85e-42d5-913e-c7fe6fb96353" providerId="ADAL" clId="{8D2B4F8B-645F-482E-A867-56D9A41DB3EB}" dt="2023-11-15T12:08:36.610" v="2615"/>
          <ac:picMkLst>
            <pc:docMk/>
            <pc:sldMk cId="1204851779" sldId="1193"/>
            <ac:picMk id="25" creationId="{409F8A95-C4D2-394A-52A0-D6A2FF0B2CF8}"/>
          </ac:picMkLst>
        </pc:picChg>
      </pc:sldChg>
      <pc:sldChg chg="add del">
        <pc:chgData name="Devraj, Keerthi (DI SW ICS DVT CSF DV FS)" userId="a61e6969-d85e-42d5-913e-c7fe6fb96353" providerId="ADAL" clId="{8D2B4F8B-645F-482E-A867-56D9A41DB3EB}" dt="2023-11-15T12:18:47.936" v="2630" actId="47"/>
        <pc:sldMkLst>
          <pc:docMk/>
          <pc:sldMk cId="2792510789" sldId="1194"/>
        </pc:sldMkLst>
      </pc:sldChg>
      <pc:sldChg chg="add del">
        <pc:chgData name="Devraj, Keerthi (DI SW ICS DVT CSF DV FS)" userId="a61e6969-d85e-42d5-913e-c7fe6fb96353" providerId="ADAL" clId="{8D2B4F8B-645F-482E-A867-56D9A41DB3EB}" dt="2023-11-15T11:01:45.511" v="2260" actId="47"/>
        <pc:sldMkLst>
          <pc:docMk/>
          <pc:sldMk cId="901762565" sldId="1195"/>
        </pc:sldMkLst>
      </pc:sldChg>
      <pc:sldChg chg="add del">
        <pc:chgData name="Devraj, Keerthi (DI SW ICS DVT CSF DV FS)" userId="a61e6969-d85e-42d5-913e-c7fe6fb96353" providerId="ADAL" clId="{8D2B4F8B-645F-482E-A867-56D9A41DB3EB}" dt="2023-11-15T11:01:45.511" v="2260" actId="47"/>
        <pc:sldMkLst>
          <pc:docMk/>
          <pc:sldMk cId="4282057726" sldId="1196"/>
        </pc:sldMkLst>
      </pc:sldChg>
      <pc:sldChg chg="add del">
        <pc:chgData name="Devraj, Keerthi (DI SW ICS DVT CSF DV FS)" userId="a61e6969-d85e-42d5-913e-c7fe6fb96353" providerId="ADAL" clId="{8D2B4F8B-645F-482E-A867-56D9A41DB3EB}" dt="2023-11-15T11:01:45.511" v="2260" actId="47"/>
        <pc:sldMkLst>
          <pc:docMk/>
          <pc:sldMk cId="4201705650" sldId="1197"/>
        </pc:sldMkLst>
      </pc:sldChg>
      <pc:sldChg chg="add del">
        <pc:chgData name="Devraj, Keerthi (DI SW ICS DVT CSF DV FS)" userId="a61e6969-d85e-42d5-913e-c7fe6fb96353" providerId="ADAL" clId="{8D2B4F8B-645F-482E-A867-56D9A41DB3EB}" dt="2023-11-15T11:01:45.511" v="2260" actId="47"/>
        <pc:sldMkLst>
          <pc:docMk/>
          <pc:sldMk cId="523321939" sldId="1198"/>
        </pc:sldMkLst>
      </pc:sldChg>
      <pc:sldChg chg="add del">
        <pc:chgData name="Devraj, Keerthi (DI SW ICS DVT CSF DV FS)" userId="a61e6969-d85e-42d5-913e-c7fe6fb96353" providerId="ADAL" clId="{8D2B4F8B-645F-482E-A867-56D9A41DB3EB}" dt="2023-11-15T11:01:45.511" v="2260" actId="47"/>
        <pc:sldMkLst>
          <pc:docMk/>
          <pc:sldMk cId="1256407473" sldId="1199"/>
        </pc:sldMkLst>
      </pc:sldChg>
      <pc:sldChg chg="add del">
        <pc:chgData name="Devraj, Keerthi (DI SW ICS DVT CSF DV FS)" userId="a61e6969-d85e-42d5-913e-c7fe6fb96353" providerId="ADAL" clId="{8D2B4F8B-645F-482E-A867-56D9A41DB3EB}" dt="2023-11-15T11:01:45.511" v="2260" actId="47"/>
        <pc:sldMkLst>
          <pc:docMk/>
          <pc:sldMk cId="1330902896" sldId="1200"/>
        </pc:sldMkLst>
      </pc:sldChg>
      <pc:sldChg chg="add del">
        <pc:chgData name="Devraj, Keerthi (DI SW ICS DVT CSF DV FS)" userId="a61e6969-d85e-42d5-913e-c7fe6fb96353" providerId="ADAL" clId="{8D2B4F8B-645F-482E-A867-56D9A41DB3EB}" dt="2023-11-15T11:01:45.511" v="2260" actId="47"/>
        <pc:sldMkLst>
          <pc:docMk/>
          <pc:sldMk cId="2633273697" sldId="1201"/>
        </pc:sldMkLst>
      </pc:sldChg>
      <pc:sldChg chg="add del">
        <pc:chgData name="Devraj, Keerthi (DI SW ICS DVT CSF DV FS)" userId="a61e6969-d85e-42d5-913e-c7fe6fb96353" providerId="ADAL" clId="{8D2B4F8B-645F-482E-A867-56D9A41DB3EB}" dt="2023-11-15T11:01:45.511" v="2260" actId="47"/>
        <pc:sldMkLst>
          <pc:docMk/>
          <pc:sldMk cId="3047242005" sldId="1202"/>
        </pc:sldMkLst>
      </pc:sldChg>
      <pc:sldChg chg="add del">
        <pc:chgData name="Devraj, Keerthi (DI SW ICS DVT CSF DV FS)" userId="a61e6969-d85e-42d5-913e-c7fe6fb96353" providerId="ADAL" clId="{8D2B4F8B-645F-482E-A867-56D9A41DB3EB}" dt="2023-11-15T11:01:45.511" v="2260" actId="47"/>
        <pc:sldMkLst>
          <pc:docMk/>
          <pc:sldMk cId="3158615400" sldId="1203"/>
        </pc:sldMkLst>
      </pc:sldChg>
      <pc:sldChg chg="add del">
        <pc:chgData name="Devraj, Keerthi (DI SW ICS DVT CSF DV FS)" userId="a61e6969-d85e-42d5-913e-c7fe6fb96353" providerId="ADAL" clId="{8D2B4F8B-645F-482E-A867-56D9A41DB3EB}" dt="2023-11-15T11:01:45.511" v="2260" actId="47"/>
        <pc:sldMkLst>
          <pc:docMk/>
          <pc:sldMk cId="3360773225" sldId="1204"/>
        </pc:sldMkLst>
      </pc:sldChg>
      <pc:sldChg chg="add del">
        <pc:chgData name="Devraj, Keerthi (DI SW ICS DVT CSF DV FS)" userId="a61e6969-d85e-42d5-913e-c7fe6fb96353" providerId="ADAL" clId="{8D2B4F8B-645F-482E-A867-56D9A41DB3EB}" dt="2023-11-15T11:01:45.511" v="2260" actId="47"/>
        <pc:sldMkLst>
          <pc:docMk/>
          <pc:sldMk cId="487227101" sldId="1205"/>
        </pc:sldMkLst>
      </pc:sldChg>
      <pc:sldChg chg="add del">
        <pc:chgData name="Devraj, Keerthi (DI SW ICS DVT CSF DV FS)" userId="a61e6969-d85e-42d5-913e-c7fe6fb96353" providerId="ADAL" clId="{8D2B4F8B-645F-482E-A867-56D9A41DB3EB}" dt="2023-11-15T11:01:45.511" v="2260" actId="47"/>
        <pc:sldMkLst>
          <pc:docMk/>
          <pc:sldMk cId="3165469302" sldId="1206"/>
        </pc:sldMkLst>
      </pc:sldChg>
      <pc:sldChg chg="add del">
        <pc:chgData name="Devraj, Keerthi (DI SW ICS DVT CSF DV FS)" userId="a61e6969-d85e-42d5-913e-c7fe6fb96353" providerId="ADAL" clId="{8D2B4F8B-645F-482E-A867-56D9A41DB3EB}" dt="2023-11-15T11:01:45.511" v="2260" actId="47"/>
        <pc:sldMkLst>
          <pc:docMk/>
          <pc:sldMk cId="847103084" sldId="1207"/>
        </pc:sldMkLst>
      </pc:sldChg>
      <pc:sldChg chg="add del">
        <pc:chgData name="Devraj, Keerthi (DI SW ICS DVT CSF DV FS)" userId="a61e6969-d85e-42d5-913e-c7fe6fb96353" providerId="ADAL" clId="{8D2B4F8B-645F-482E-A867-56D9A41DB3EB}" dt="2023-11-15T11:01:45.511" v="2260" actId="47"/>
        <pc:sldMkLst>
          <pc:docMk/>
          <pc:sldMk cId="1708648579" sldId="1208"/>
        </pc:sldMkLst>
      </pc:sldChg>
      <pc:sldChg chg="add del">
        <pc:chgData name="Devraj, Keerthi (DI SW ICS DVT CSF DV FS)" userId="a61e6969-d85e-42d5-913e-c7fe6fb96353" providerId="ADAL" clId="{8D2B4F8B-645F-482E-A867-56D9A41DB3EB}" dt="2023-11-15T11:01:45.511" v="2260" actId="47"/>
        <pc:sldMkLst>
          <pc:docMk/>
          <pc:sldMk cId="2139490352" sldId="1209"/>
        </pc:sldMkLst>
      </pc:sldChg>
      <pc:sldChg chg="add del">
        <pc:chgData name="Devraj, Keerthi (DI SW ICS DVT CSF DV FS)" userId="a61e6969-d85e-42d5-913e-c7fe6fb96353" providerId="ADAL" clId="{8D2B4F8B-645F-482E-A867-56D9A41DB3EB}" dt="2023-11-15T11:01:45.511" v="2260" actId="47"/>
        <pc:sldMkLst>
          <pc:docMk/>
          <pc:sldMk cId="2775265873" sldId="1210"/>
        </pc:sldMkLst>
      </pc:sldChg>
      <pc:sldChg chg="addSp delSp modSp add mod ord">
        <pc:chgData name="Devraj, Keerthi (DI SW ICS DVT CSF DV FS)" userId="a61e6969-d85e-42d5-913e-c7fe6fb96353" providerId="ADAL" clId="{8D2B4F8B-645F-482E-A867-56D9A41DB3EB}" dt="2023-12-13T13:53:58.145" v="2769" actId="21"/>
        <pc:sldMkLst>
          <pc:docMk/>
          <pc:sldMk cId="2940452611" sldId="1211"/>
        </pc:sldMkLst>
        <pc:spChg chg="mod">
          <ac:chgData name="Devraj, Keerthi (DI SW ICS DVT CSF DV FS)" userId="a61e6969-d85e-42d5-913e-c7fe6fb96353" providerId="ADAL" clId="{8D2B4F8B-645F-482E-A867-56D9A41DB3EB}" dt="2023-11-15T08:48:48.634" v="213"/>
          <ac:spMkLst>
            <pc:docMk/>
            <pc:sldMk cId="2940452611" sldId="1211"/>
            <ac:spMk id="2" creationId="{30A59CE0-18CE-9447-F486-84039784745F}"/>
          </ac:spMkLst>
        </pc:spChg>
        <pc:spChg chg="add mod">
          <ac:chgData name="Devraj, Keerthi (DI SW ICS DVT CSF DV FS)" userId="a61e6969-d85e-42d5-913e-c7fe6fb96353" providerId="ADAL" clId="{8D2B4F8B-645F-482E-A867-56D9A41DB3EB}" dt="2023-11-15T08:52:56.257" v="467" actId="207"/>
          <ac:spMkLst>
            <pc:docMk/>
            <pc:sldMk cId="2940452611" sldId="1211"/>
            <ac:spMk id="11" creationId="{84E06F75-E8F1-689B-7A45-AF3B5C199EF1}"/>
          </ac:spMkLst>
        </pc:spChg>
        <pc:spChg chg="add mod">
          <ac:chgData name="Devraj, Keerthi (DI SW ICS DVT CSF DV FS)" userId="a61e6969-d85e-42d5-913e-c7fe6fb96353" providerId="ADAL" clId="{8D2B4F8B-645F-482E-A867-56D9A41DB3EB}" dt="2023-11-15T08:52:57.553" v="468" actId="207"/>
          <ac:spMkLst>
            <pc:docMk/>
            <pc:sldMk cId="2940452611" sldId="1211"/>
            <ac:spMk id="12" creationId="{D315D5F3-5896-9B6E-96A8-8005CE403D33}"/>
          </ac:spMkLst>
        </pc:spChg>
        <pc:spChg chg="add mod">
          <ac:chgData name="Devraj, Keerthi (DI SW ICS DVT CSF DV FS)" userId="a61e6969-d85e-42d5-913e-c7fe6fb96353" providerId="ADAL" clId="{8D2B4F8B-645F-482E-A867-56D9A41DB3EB}" dt="2023-11-15T08:52:55.617" v="465" actId="207"/>
          <ac:spMkLst>
            <pc:docMk/>
            <pc:sldMk cId="2940452611" sldId="1211"/>
            <ac:spMk id="13" creationId="{66EDF46D-C444-1F33-104F-13D11A9CFE50}"/>
          </ac:spMkLst>
        </pc:spChg>
        <pc:spChg chg="add mod">
          <ac:chgData name="Devraj, Keerthi (DI SW ICS DVT CSF DV FS)" userId="a61e6969-d85e-42d5-913e-c7fe6fb96353" providerId="ADAL" clId="{8D2B4F8B-645F-482E-A867-56D9A41DB3EB}" dt="2023-11-15T08:52:55.617" v="465" actId="207"/>
          <ac:spMkLst>
            <pc:docMk/>
            <pc:sldMk cId="2940452611" sldId="1211"/>
            <ac:spMk id="14" creationId="{D6C816E8-C8C8-214C-74A1-33D0FBEF25AD}"/>
          </ac:spMkLst>
        </pc:spChg>
        <pc:spChg chg="add mod">
          <ac:chgData name="Devraj, Keerthi (DI SW ICS DVT CSF DV FS)" userId="a61e6969-d85e-42d5-913e-c7fe6fb96353" providerId="ADAL" clId="{8D2B4F8B-645F-482E-A867-56D9A41DB3EB}" dt="2023-11-15T08:52:55.617" v="465" actId="207"/>
          <ac:spMkLst>
            <pc:docMk/>
            <pc:sldMk cId="2940452611" sldId="1211"/>
            <ac:spMk id="15" creationId="{A142D7E8-7CA8-00FD-2081-BC811594202A}"/>
          </ac:spMkLst>
        </pc:spChg>
        <pc:spChg chg="add mod">
          <ac:chgData name="Devraj, Keerthi (DI SW ICS DVT CSF DV FS)" userId="a61e6969-d85e-42d5-913e-c7fe6fb96353" providerId="ADAL" clId="{8D2B4F8B-645F-482E-A867-56D9A41DB3EB}" dt="2023-11-15T08:52:55.617" v="465" actId="207"/>
          <ac:spMkLst>
            <pc:docMk/>
            <pc:sldMk cId="2940452611" sldId="1211"/>
            <ac:spMk id="16" creationId="{C5C84DC4-567E-119F-64AF-1045ED4B2C89}"/>
          </ac:spMkLst>
        </pc:spChg>
        <pc:spChg chg="mod">
          <ac:chgData name="Devraj, Keerthi (DI SW ICS DVT CSF DV FS)" userId="a61e6969-d85e-42d5-913e-c7fe6fb96353" providerId="ADAL" clId="{8D2B4F8B-645F-482E-A867-56D9A41DB3EB}" dt="2023-11-15T08:52:55.841" v="466" actId="207"/>
          <ac:spMkLst>
            <pc:docMk/>
            <pc:sldMk cId="2940452611" sldId="1211"/>
            <ac:spMk id="18" creationId="{54E6B6CB-D82F-3C8A-BC97-D2B3B93B297E}"/>
          </ac:spMkLst>
        </pc:spChg>
        <pc:spChg chg="mod">
          <ac:chgData name="Devraj, Keerthi (DI SW ICS DVT CSF DV FS)" userId="a61e6969-d85e-42d5-913e-c7fe6fb96353" providerId="ADAL" clId="{8D2B4F8B-645F-482E-A867-56D9A41DB3EB}" dt="2023-11-15T08:52:55.841" v="466" actId="207"/>
          <ac:spMkLst>
            <pc:docMk/>
            <pc:sldMk cId="2940452611" sldId="1211"/>
            <ac:spMk id="19" creationId="{24650E03-BFD9-3FF9-65C1-11628C1AE118}"/>
          </ac:spMkLst>
        </pc:spChg>
        <pc:spChg chg="mod">
          <ac:chgData name="Devraj, Keerthi (DI SW ICS DVT CSF DV FS)" userId="a61e6969-d85e-42d5-913e-c7fe6fb96353" providerId="ADAL" clId="{8D2B4F8B-645F-482E-A867-56D9A41DB3EB}" dt="2023-11-15T08:52:55.841" v="466" actId="207"/>
          <ac:spMkLst>
            <pc:docMk/>
            <pc:sldMk cId="2940452611" sldId="1211"/>
            <ac:spMk id="20" creationId="{D0390AFF-E901-D53D-1C9E-1AD86F5A1A6F}"/>
          </ac:spMkLst>
        </pc:spChg>
        <pc:spChg chg="mod">
          <ac:chgData name="Devraj, Keerthi (DI SW ICS DVT CSF DV FS)" userId="a61e6969-d85e-42d5-913e-c7fe6fb96353" providerId="ADAL" clId="{8D2B4F8B-645F-482E-A867-56D9A41DB3EB}" dt="2023-11-15T08:52:55.841" v="466" actId="207"/>
          <ac:spMkLst>
            <pc:docMk/>
            <pc:sldMk cId="2940452611" sldId="1211"/>
            <ac:spMk id="21" creationId="{E731EEB5-6D3B-09B6-FFE4-2225FF12D719}"/>
          </ac:spMkLst>
        </pc:spChg>
        <pc:spChg chg="mod">
          <ac:chgData name="Devraj, Keerthi (DI SW ICS DVT CSF DV FS)" userId="a61e6969-d85e-42d5-913e-c7fe6fb96353" providerId="ADAL" clId="{8D2B4F8B-645F-482E-A867-56D9A41DB3EB}" dt="2023-11-15T08:52:55.841" v="466" actId="207"/>
          <ac:spMkLst>
            <pc:docMk/>
            <pc:sldMk cId="2940452611" sldId="1211"/>
            <ac:spMk id="22" creationId="{E66B3AC5-B2A1-5089-8085-828D8F28E59E}"/>
          </ac:spMkLst>
        </pc:spChg>
        <pc:spChg chg="mod">
          <ac:chgData name="Devraj, Keerthi (DI SW ICS DVT CSF DV FS)" userId="a61e6969-d85e-42d5-913e-c7fe6fb96353" providerId="ADAL" clId="{8D2B4F8B-645F-482E-A867-56D9A41DB3EB}" dt="2023-11-15T08:52:55.841" v="466" actId="207"/>
          <ac:spMkLst>
            <pc:docMk/>
            <pc:sldMk cId="2940452611" sldId="1211"/>
            <ac:spMk id="23" creationId="{DEA08883-5A74-C7DA-DD26-9E90B504C730}"/>
          </ac:spMkLst>
        </pc:spChg>
        <pc:spChg chg="mod">
          <ac:chgData name="Devraj, Keerthi (DI SW ICS DVT CSF DV FS)" userId="a61e6969-d85e-42d5-913e-c7fe6fb96353" providerId="ADAL" clId="{8D2B4F8B-645F-482E-A867-56D9A41DB3EB}" dt="2023-11-15T08:49:47.672" v="335" actId="692"/>
          <ac:spMkLst>
            <pc:docMk/>
            <pc:sldMk cId="2940452611" sldId="1211"/>
            <ac:spMk id="24" creationId="{D4FAA64D-4C44-E5B4-8B83-DF339FB45BDC}"/>
          </ac:spMkLst>
        </pc:spChg>
        <pc:spChg chg="add del mod">
          <ac:chgData name="Devraj, Keerthi (DI SW ICS DVT CSF DV FS)" userId="a61e6969-d85e-42d5-913e-c7fe6fb96353" providerId="ADAL" clId="{8D2B4F8B-645F-482E-A867-56D9A41DB3EB}" dt="2023-11-15T08:52:55.146" v="464"/>
          <ac:spMkLst>
            <pc:docMk/>
            <pc:sldMk cId="2940452611" sldId="1211"/>
            <ac:spMk id="25" creationId="{FD00ACC4-0772-E109-AF2B-0E25F9E8B46F}"/>
          </ac:spMkLst>
        </pc:spChg>
        <pc:spChg chg="mod">
          <ac:chgData name="Devraj, Keerthi (DI SW ICS DVT CSF DV FS)" userId="a61e6969-d85e-42d5-913e-c7fe6fb96353" providerId="ADAL" clId="{8D2B4F8B-645F-482E-A867-56D9A41DB3EB}" dt="2023-11-15T08:52:52.379" v="461"/>
          <ac:spMkLst>
            <pc:docMk/>
            <pc:sldMk cId="2940452611" sldId="1211"/>
            <ac:spMk id="27" creationId="{CC0D5F30-5371-B5CC-0428-CC2869A81FCE}"/>
          </ac:spMkLst>
        </pc:spChg>
        <pc:grpChg chg="add del mod">
          <ac:chgData name="Devraj, Keerthi (DI SW ICS DVT CSF DV FS)" userId="a61e6969-d85e-42d5-913e-c7fe6fb96353" providerId="ADAL" clId="{8D2B4F8B-645F-482E-A867-56D9A41DB3EB}" dt="2023-12-13T13:53:58.145" v="2769" actId="21"/>
          <ac:grpSpMkLst>
            <pc:docMk/>
            <pc:sldMk cId="2940452611" sldId="1211"/>
            <ac:grpSpMk id="17" creationId="{39FCC1CF-AAA2-7807-7748-B3D62C0A063B}"/>
          </ac:grpSpMkLst>
        </pc:grpChg>
        <pc:grpChg chg="add del mod">
          <ac:chgData name="Devraj, Keerthi (DI SW ICS DVT CSF DV FS)" userId="a61e6969-d85e-42d5-913e-c7fe6fb96353" providerId="ADAL" clId="{8D2B4F8B-645F-482E-A867-56D9A41DB3EB}" dt="2023-11-15T08:52:54.419" v="462"/>
          <ac:grpSpMkLst>
            <pc:docMk/>
            <pc:sldMk cId="2940452611" sldId="1211"/>
            <ac:grpSpMk id="26" creationId="{3EAB7425-E5D7-BF6F-8028-664040E36177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8:52:52.379" v="461"/>
          <ac:grpSpMkLst>
            <pc:docMk/>
            <pc:sldMk cId="2940452611" sldId="1211"/>
            <ac:grpSpMk id="28" creationId="{0DD74E07-0CFC-B5B9-0CEB-90379D22B265}"/>
          </ac:grpSpMkLst>
        </pc:grpChg>
        <pc:picChg chg="add mod ord">
          <ac:chgData name="Devraj, Keerthi (DI SW ICS DVT CSF DV FS)" userId="a61e6969-d85e-42d5-913e-c7fe6fb96353" providerId="ADAL" clId="{8D2B4F8B-645F-482E-A867-56D9A41DB3EB}" dt="2023-11-15T08:52:59.730" v="470" actId="14100"/>
          <ac:picMkLst>
            <pc:docMk/>
            <pc:sldMk cId="2940452611" sldId="1211"/>
            <ac:picMk id="4" creationId="{CBA59E51-E601-F333-D97D-3190696F31FB}"/>
          </ac:picMkLst>
        </pc:picChg>
        <pc:cxnChg chg="add mod">
          <ac:chgData name="Devraj, Keerthi (DI SW ICS DVT CSF DV FS)" userId="a61e6969-d85e-42d5-913e-c7fe6fb96353" providerId="ADAL" clId="{8D2B4F8B-645F-482E-A867-56D9A41DB3EB}" dt="2023-11-15T08:49:00.179" v="214"/>
          <ac:cxnSpMkLst>
            <pc:docMk/>
            <pc:sldMk cId="2940452611" sldId="1211"/>
            <ac:cxnSpMk id="5" creationId="{026F336B-A284-8CBF-F652-9B3D9150755F}"/>
          </ac:cxnSpMkLst>
        </pc:cxnChg>
        <pc:cxnChg chg="add mod">
          <ac:chgData name="Devraj, Keerthi (DI SW ICS DVT CSF DV FS)" userId="a61e6969-d85e-42d5-913e-c7fe6fb96353" providerId="ADAL" clId="{8D2B4F8B-645F-482E-A867-56D9A41DB3EB}" dt="2023-11-15T08:49:00.179" v="214"/>
          <ac:cxnSpMkLst>
            <pc:docMk/>
            <pc:sldMk cId="2940452611" sldId="1211"/>
            <ac:cxnSpMk id="6" creationId="{833061B8-E168-5DC1-6FFB-357FFCE6521B}"/>
          </ac:cxnSpMkLst>
        </pc:cxnChg>
        <pc:cxnChg chg="add mod">
          <ac:chgData name="Devraj, Keerthi (DI SW ICS DVT CSF DV FS)" userId="a61e6969-d85e-42d5-913e-c7fe6fb96353" providerId="ADAL" clId="{8D2B4F8B-645F-482E-A867-56D9A41DB3EB}" dt="2023-11-15T08:49:00.179" v="214"/>
          <ac:cxnSpMkLst>
            <pc:docMk/>
            <pc:sldMk cId="2940452611" sldId="1211"/>
            <ac:cxnSpMk id="7" creationId="{8EFF3DB5-7F6E-A22C-BC32-0B2BAD41994D}"/>
          </ac:cxnSpMkLst>
        </pc:cxnChg>
        <pc:cxnChg chg="add mod">
          <ac:chgData name="Devraj, Keerthi (DI SW ICS DVT CSF DV FS)" userId="a61e6969-d85e-42d5-913e-c7fe6fb96353" providerId="ADAL" clId="{8D2B4F8B-645F-482E-A867-56D9A41DB3EB}" dt="2023-11-15T08:49:00.179" v="214"/>
          <ac:cxnSpMkLst>
            <pc:docMk/>
            <pc:sldMk cId="2940452611" sldId="1211"/>
            <ac:cxnSpMk id="8" creationId="{1E0EC20A-FF8B-291C-8A08-730F13CF060B}"/>
          </ac:cxnSpMkLst>
        </pc:cxnChg>
        <pc:cxnChg chg="add mod">
          <ac:chgData name="Devraj, Keerthi (DI SW ICS DVT CSF DV FS)" userId="a61e6969-d85e-42d5-913e-c7fe6fb96353" providerId="ADAL" clId="{8D2B4F8B-645F-482E-A867-56D9A41DB3EB}" dt="2023-11-15T08:49:00.179" v="214"/>
          <ac:cxnSpMkLst>
            <pc:docMk/>
            <pc:sldMk cId="2940452611" sldId="1211"/>
            <ac:cxnSpMk id="9" creationId="{D8229452-E7E3-CBF1-6FDA-8D4DA696789B}"/>
          </ac:cxnSpMkLst>
        </pc:cxnChg>
        <pc:cxnChg chg="add mod">
          <ac:chgData name="Devraj, Keerthi (DI SW ICS DVT CSF DV FS)" userId="a61e6969-d85e-42d5-913e-c7fe6fb96353" providerId="ADAL" clId="{8D2B4F8B-645F-482E-A867-56D9A41DB3EB}" dt="2023-11-15T08:49:00.179" v="214"/>
          <ac:cxnSpMkLst>
            <pc:docMk/>
            <pc:sldMk cId="2940452611" sldId="1211"/>
            <ac:cxnSpMk id="10" creationId="{95714C94-51B4-5356-47C9-9BE04BC88796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8:52:52.379" v="461"/>
          <ac:cxnSpMkLst>
            <pc:docMk/>
            <pc:sldMk cId="2940452611" sldId="1211"/>
            <ac:cxnSpMk id="29" creationId="{C6E5F73E-1173-2CD2-4194-A3EA85F0807A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8:52:52.379" v="461"/>
          <ac:cxnSpMkLst>
            <pc:docMk/>
            <pc:sldMk cId="2940452611" sldId="1211"/>
            <ac:cxnSpMk id="30" creationId="{A8F36D25-437E-FA87-AEE1-05A3D7B35148}"/>
          </ac:cxnSpMkLst>
        </pc:cxnChg>
      </pc:sldChg>
      <pc:sldChg chg="modSp new mod ord">
        <pc:chgData name="Devraj, Keerthi (DI SW ICS DVT CSF DV FS)" userId="a61e6969-d85e-42d5-913e-c7fe6fb96353" providerId="ADAL" clId="{8D2B4F8B-645F-482E-A867-56D9A41DB3EB}" dt="2023-11-15T09:04:02.725" v="734" actId="20577"/>
        <pc:sldMkLst>
          <pc:docMk/>
          <pc:sldMk cId="3796347276" sldId="1212"/>
        </pc:sldMkLst>
        <pc:spChg chg="mod">
          <ac:chgData name="Devraj, Keerthi (DI SW ICS DVT CSF DV FS)" userId="a61e6969-d85e-42d5-913e-c7fe6fb96353" providerId="ADAL" clId="{8D2B4F8B-645F-482E-A867-56D9A41DB3EB}" dt="2023-11-15T09:04:02.725" v="734" actId="20577"/>
          <ac:spMkLst>
            <pc:docMk/>
            <pc:sldMk cId="3796347276" sldId="1212"/>
            <ac:spMk id="3" creationId="{D426F0B2-B36F-87AB-79A5-8565C35B7455}"/>
          </ac:spMkLst>
        </pc:spChg>
      </pc:sldChg>
      <pc:sldChg chg="add">
        <pc:chgData name="Devraj, Keerthi (DI SW ICS DVT CSF DV FS)" userId="a61e6969-d85e-42d5-913e-c7fe6fb96353" providerId="ADAL" clId="{8D2B4F8B-645F-482E-A867-56D9A41DB3EB}" dt="2023-11-15T09:05:44.200" v="774"/>
        <pc:sldMkLst>
          <pc:docMk/>
          <pc:sldMk cId="943905747" sldId="1213"/>
        </pc:sldMkLst>
      </pc:sldChg>
      <pc:sldChg chg="add del">
        <pc:chgData name="Devraj, Keerthi (DI SW ICS DVT CSF DV FS)" userId="a61e6969-d85e-42d5-913e-c7fe6fb96353" providerId="ADAL" clId="{8D2B4F8B-645F-482E-A867-56D9A41DB3EB}" dt="2023-11-15T09:20:46.115" v="940" actId="47"/>
        <pc:sldMkLst>
          <pc:docMk/>
          <pc:sldMk cId="784008275" sldId="1214"/>
        </pc:sldMkLst>
      </pc:sldChg>
      <pc:sldChg chg="addSp delSp modSp add mod">
        <pc:chgData name="Devraj, Keerthi (DI SW ICS DVT CSF DV FS)" userId="a61e6969-d85e-42d5-913e-c7fe6fb96353" providerId="ADAL" clId="{8D2B4F8B-645F-482E-A867-56D9A41DB3EB}" dt="2023-11-15T09:42:59.834" v="1367"/>
        <pc:sldMkLst>
          <pc:docMk/>
          <pc:sldMk cId="2950444623" sldId="1214"/>
        </pc:sldMkLst>
        <pc:spChg chg="mod">
          <ac:chgData name="Devraj, Keerthi (DI SW ICS DVT CSF DV FS)" userId="a61e6969-d85e-42d5-913e-c7fe6fb96353" providerId="ADAL" clId="{8D2B4F8B-645F-482E-A867-56D9A41DB3EB}" dt="2023-11-15T09:23:15.777" v="968" actId="6549"/>
          <ac:spMkLst>
            <pc:docMk/>
            <pc:sldMk cId="2950444623" sldId="1214"/>
            <ac:spMk id="2" creationId="{30A59CE0-18CE-9447-F486-84039784745F}"/>
          </ac:spMkLst>
        </pc:spChg>
        <pc:spChg chg="del mod">
          <ac:chgData name="Devraj, Keerthi (DI SW ICS DVT CSF DV FS)" userId="a61e6969-d85e-42d5-913e-c7fe6fb96353" providerId="ADAL" clId="{8D2B4F8B-645F-482E-A867-56D9A41DB3EB}" dt="2023-11-15T09:42:59.329" v="1366" actId="478"/>
          <ac:spMkLst>
            <pc:docMk/>
            <pc:sldMk cId="2950444623" sldId="1214"/>
            <ac:spMk id="4" creationId="{3B90DFB3-87D2-54DF-F3F4-9D159BFF9360}"/>
          </ac:spMkLst>
        </pc:spChg>
        <pc:spChg chg="del">
          <ac:chgData name="Devraj, Keerthi (DI SW ICS DVT CSF DV FS)" userId="a61e6969-d85e-42d5-913e-c7fe6fb96353" providerId="ADAL" clId="{8D2B4F8B-645F-482E-A867-56D9A41DB3EB}" dt="2023-11-15T09:42:59.329" v="1366" actId="478"/>
          <ac:spMkLst>
            <pc:docMk/>
            <pc:sldMk cId="2950444623" sldId="1214"/>
            <ac:spMk id="5" creationId="{F417E931-445A-5EC5-0F7A-2C6E6CCA4DFF}"/>
          </ac:spMkLst>
        </pc:spChg>
        <pc:spChg chg="del">
          <ac:chgData name="Devraj, Keerthi (DI SW ICS DVT CSF DV FS)" userId="a61e6969-d85e-42d5-913e-c7fe6fb96353" providerId="ADAL" clId="{8D2B4F8B-645F-482E-A867-56D9A41DB3EB}" dt="2023-11-15T09:24:18.934" v="1048" actId="478"/>
          <ac:spMkLst>
            <pc:docMk/>
            <pc:sldMk cId="2950444623" sldId="1214"/>
            <ac:spMk id="6" creationId="{8A40BAD9-00F4-1450-AE27-0C4A36E13FFF}"/>
          </ac:spMkLst>
        </pc:spChg>
        <pc:spChg chg="del">
          <ac:chgData name="Devraj, Keerthi (DI SW ICS DVT CSF DV FS)" userId="a61e6969-d85e-42d5-913e-c7fe6fb96353" providerId="ADAL" clId="{8D2B4F8B-645F-482E-A867-56D9A41DB3EB}" dt="2023-11-15T09:24:18.934" v="1048" actId="478"/>
          <ac:spMkLst>
            <pc:docMk/>
            <pc:sldMk cId="2950444623" sldId="1214"/>
            <ac:spMk id="7" creationId="{7A6BDA49-023E-7BC4-F03E-CBD9E60810F3}"/>
          </ac:spMkLst>
        </pc:spChg>
        <pc:spChg chg="del">
          <ac:chgData name="Devraj, Keerthi (DI SW ICS DVT CSF DV FS)" userId="a61e6969-d85e-42d5-913e-c7fe6fb96353" providerId="ADAL" clId="{8D2B4F8B-645F-482E-A867-56D9A41DB3EB}" dt="2023-11-15T09:24:18.934" v="1048" actId="478"/>
          <ac:spMkLst>
            <pc:docMk/>
            <pc:sldMk cId="2950444623" sldId="1214"/>
            <ac:spMk id="8" creationId="{1C8463E8-2229-F6A5-838F-0127D6D88B57}"/>
          </ac:spMkLst>
        </pc:spChg>
        <pc:spChg chg="del">
          <ac:chgData name="Devraj, Keerthi (DI SW ICS DVT CSF DV FS)" userId="a61e6969-d85e-42d5-913e-c7fe6fb96353" providerId="ADAL" clId="{8D2B4F8B-645F-482E-A867-56D9A41DB3EB}" dt="2023-11-15T09:24:18.934" v="1048" actId="478"/>
          <ac:spMkLst>
            <pc:docMk/>
            <pc:sldMk cId="2950444623" sldId="1214"/>
            <ac:spMk id="53" creationId="{749129B0-AC4C-EC2B-6240-B4A142DB52DC}"/>
          </ac:spMkLst>
        </pc:spChg>
        <pc:spChg chg="del">
          <ac:chgData name="Devraj, Keerthi (DI SW ICS DVT CSF DV FS)" userId="a61e6969-d85e-42d5-913e-c7fe6fb96353" providerId="ADAL" clId="{8D2B4F8B-645F-482E-A867-56D9A41DB3EB}" dt="2023-11-15T09:24:18.934" v="1048" actId="478"/>
          <ac:spMkLst>
            <pc:docMk/>
            <pc:sldMk cId="2950444623" sldId="1214"/>
            <ac:spMk id="54" creationId="{32D8D8B9-80AF-FD7C-1FA3-A5AF7AE530C8}"/>
          </ac:spMkLst>
        </pc:spChg>
        <pc:spChg chg="del">
          <ac:chgData name="Devraj, Keerthi (DI SW ICS DVT CSF DV FS)" userId="a61e6969-d85e-42d5-913e-c7fe6fb96353" providerId="ADAL" clId="{8D2B4F8B-645F-482E-A867-56D9A41DB3EB}" dt="2023-11-15T09:24:18.934" v="1048" actId="478"/>
          <ac:spMkLst>
            <pc:docMk/>
            <pc:sldMk cId="2950444623" sldId="1214"/>
            <ac:spMk id="70" creationId="{94374491-0DB6-A749-3B86-E5B78BD317CA}"/>
          </ac:spMkLst>
        </pc:spChg>
        <pc:spChg chg="del">
          <ac:chgData name="Devraj, Keerthi (DI SW ICS DVT CSF DV FS)" userId="a61e6969-d85e-42d5-913e-c7fe6fb96353" providerId="ADAL" clId="{8D2B4F8B-645F-482E-A867-56D9A41DB3EB}" dt="2023-11-15T09:24:18.934" v="1048" actId="478"/>
          <ac:spMkLst>
            <pc:docMk/>
            <pc:sldMk cId="2950444623" sldId="1214"/>
            <ac:spMk id="86" creationId="{77045BC1-D116-2A65-C02E-EBF4F4771D3F}"/>
          </ac:spMkLst>
        </pc:spChg>
        <pc:spChg chg="del">
          <ac:chgData name="Devraj, Keerthi (DI SW ICS DVT CSF DV FS)" userId="a61e6969-d85e-42d5-913e-c7fe6fb96353" providerId="ADAL" clId="{8D2B4F8B-645F-482E-A867-56D9A41DB3EB}" dt="2023-11-15T09:24:18.934" v="1048" actId="478"/>
          <ac:spMkLst>
            <pc:docMk/>
            <pc:sldMk cId="2950444623" sldId="1214"/>
            <ac:spMk id="87" creationId="{FDD5F789-2319-3863-2833-DB9A7D3684F7}"/>
          </ac:spMkLst>
        </pc:spChg>
        <pc:spChg chg="del">
          <ac:chgData name="Devraj, Keerthi (DI SW ICS DVT CSF DV FS)" userId="a61e6969-d85e-42d5-913e-c7fe6fb96353" providerId="ADAL" clId="{8D2B4F8B-645F-482E-A867-56D9A41DB3EB}" dt="2023-11-15T09:24:18.934" v="1048" actId="478"/>
          <ac:spMkLst>
            <pc:docMk/>
            <pc:sldMk cId="2950444623" sldId="1214"/>
            <ac:spMk id="88" creationId="{676F6340-03D3-0479-F834-9DC4FE252318}"/>
          </ac:spMkLst>
        </pc:spChg>
        <pc:spChg chg="add del mod">
          <ac:chgData name="Devraj, Keerthi (DI SW ICS DVT CSF DV FS)" userId="a61e6969-d85e-42d5-913e-c7fe6fb96353" providerId="ADAL" clId="{8D2B4F8B-645F-482E-A867-56D9A41DB3EB}" dt="2023-11-15T09:42:59.329" v="1366" actId="478"/>
          <ac:spMkLst>
            <pc:docMk/>
            <pc:sldMk cId="2950444623" sldId="1214"/>
            <ac:spMk id="105" creationId="{1721180B-B612-7175-6363-4F6F3889FBEC}"/>
          </ac:spMkLst>
        </pc:spChg>
        <pc:spChg chg="add del mod">
          <ac:chgData name="Devraj, Keerthi (DI SW ICS DVT CSF DV FS)" userId="a61e6969-d85e-42d5-913e-c7fe6fb96353" providerId="ADAL" clId="{8D2B4F8B-645F-482E-A867-56D9A41DB3EB}" dt="2023-11-15T09:42:59.329" v="1366" actId="478"/>
          <ac:spMkLst>
            <pc:docMk/>
            <pc:sldMk cId="2950444623" sldId="1214"/>
            <ac:spMk id="106" creationId="{675FD483-29CF-AF08-E3B8-17929F7ADFFC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24:19.730" v="1049"/>
          <ac:spMkLst>
            <pc:docMk/>
            <pc:sldMk cId="2950444623" sldId="1214"/>
            <ac:spMk id="107" creationId="{AA0DCB8E-C7C6-154B-6230-F5052A57A981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24:19.730" v="1049"/>
          <ac:spMkLst>
            <pc:docMk/>
            <pc:sldMk cId="2950444623" sldId="1214"/>
            <ac:spMk id="108" creationId="{F664AF22-234D-6FC2-9976-7E92F81C0A07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24:19.730" v="1049"/>
          <ac:spMkLst>
            <pc:docMk/>
            <pc:sldMk cId="2950444623" sldId="1214"/>
            <ac:spMk id="109" creationId="{FC87BA30-799D-E4B3-266A-D57FD9CC89DC}"/>
          </ac:spMkLst>
        </pc:spChg>
        <pc:spChg chg="mod">
          <ac:chgData name="Devraj, Keerthi (DI SW ICS DVT CSF DV FS)" userId="a61e6969-d85e-42d5-913e-c7fe6fb96353" providerId="ADAL" clId="{8D2B4F8B-645F-482E-A867-56D9A41DB3EB}" dt="2023-11-15T09:24:19.730" v="1049"/>
          <ac:spMkLst>
            <pc:docMk/>
            <pc:sldMk cId="2950444623" sldId="1214"/>
            <ac:spMk id="125" creationId="{52A0919B-9994-4DFC-9E06-011CE442923C}"/>
          </ac:spMkLst>
        </pc:spChg>
        <pc:spChg chg="mod">
          <ac:chgData name="Devraj, Keerthi (DI SW ICS DVT CSF DV FS)" userId="a61e6969-d85e-42d5-913e-c7fe6fb96353" providerId="ADAL" clId="{8D2B4F8B-645F-482E-A867-56D9A41DB3EB}" dt="2023-11-15T09:24:19.730" v="1049"/>
          <ac:spMkLst>
            <pc:docMk/>
            <pc:sldMk cId="2950444623" sldId="1214"/>
            <ac:spMk id="127" creationId="{AC95415D-7C13-77C8-273B-A262037FBAFC}"/>
          </ac:spMkLst>
        </pc:spChg>
        <pc:spChg chg="mod">
          <ac:chgData name="Devraj, Keerthi (DI SW ICS DVT CSF DV FS)" userId="a61e6969-d85e-42d5-913e-c7fe6fb96353" providerId="ADAL" clId="{8D2B4F8B-645F-482E-A867-56D9A41DB3EB}" dt="2023-11-15T09:24:19.730" v="1049"/>
          <ac:spMkLst>
            <pc:docMk/>
            <pc:sldMk cId="2950444623" sldId="1214"/>
            <ac:spMk id="128" creationId="{8FCF40C2-B8F4-D854-8037-CAC4978931B1}"/>
          </ac:spMkLst>
        </pc:spChg>
        <pc:spChg chg="mod">
          <ac:chgData name="Devraj, Keerthi (DI SW ICS DVT CSF DV FS)" userId="a61e6969-d85e-42d5-913e-c7fe6fb96353" providerId="ADAL" clId="{8D2B4F8B-645F-482E-A867-56D9A41DB3EB}" dt="2023-11-15T09:24:19.730" v="1049"/>
          <ac:spMkLst>
            <pc:docMk/>
            <pc:sldMk cId="2950444623" sldId="1214"/>
            <ac:spMk id="129" creationId="{B6071CD7-980E-BD64-017D-4DBE68106997}"/>
          </ac:spMkLst>
        </pc:spChg>
        <pc:spChg chg="mod">
          <ac:chgData name="Devraj, Keerthi (DI SW ICS DVT CSF DV FS)" userId="a61e6969-d85e-42d5-913e-c7fe6fb96353" providerId="ADAL" clId="{8D2B4F8B-645F-482E-A867-56D9A41DB3EB}" dt="2023-11-15T09:24:19.730" v="1049"/>
          <ac:spMkLst>
            <pc:docMk/>
            <pc:sldMk cId="2950444623" sldId="1214"/>
            <ac:spMk id="137" creationId="{0E9923ED-968F-55F5-DAD2-DBFF3205C218}"/>
          </ac:spMkLst>
        </pc:spChg>
        <pc:spChg chg="mod">
          <ac:chgData name="Devraj, Keerthi (DI SW ICS DVT CSF DV FS)" userId="a61e6969-d85e-42d5-913e-c7fe6fb96353" providerId="ADAL" clId="{8D2B4F8B-645F-482E-A867-56D9A41DB3EB}" dt="2023-11-15T09:24:19.730" v="1049"/>
          <ac:spMkLst>
            <pc:docMk/>
            <pc:sldMk cId="2950444623" sldId="1214"/>
            <ac:spMk id="138" creationId="{0AE324C8-0059-FB00-7F7D-8C6415FBE086}"/>
          </ac:spMkLst>
        </pc:spChg>
        <pc:spChg chg="mod">
          <ac:chgData name="Devraj, Keerthi (DI SW ICS DVT CSF DV FS)" userId="a61e6969-d85e-42d5-913e-c7fe6fb96353" providerId="ADAL" clId="{8D2B4F8B-645F-482E-A867-56D9A41DB3EB}" dt="2023-11-15T09:24:19.730" v="1049"/>
          <ac:spMkLst>
            <pc:docMk/>
            <pc:sldMk cId="2950444623" sldId="1214"/>
            <ac:spMk id="140" creationId="{9E383993-E01F-1E1D-26F6-FFD20302992E}"/>
          </ac:spMkLst>
        </pc:spChg>
        <pc:spChg chg="mod">
          <ac:chgData name="Devraj, Keerthi (DI SW ICS DVT CSF DV FS)" userId="a61e6969-d85e-42d5-913e-c7fe6fb96353" providerId="ADAL" clId="{8D2B4F8B-645F-482E-A867-56D9A41DB3EB}" dt="2023-11-15T09:24:19.730" v="1049"/>
          <ac:spMkLst>
            <pc:docMk/>
            <pc:sldMk cId="2950444623" sldId="1214"/>
            <ac:spMk id="142" creationId="{7EF72FD3-6368-EA8E-E8B8-B4B3C7A7BA15}"/>
          </ac:spMkLst>
        </pc:spChg>
        <pc:spChg chg="mod">
          <ac:chgData name="Devraj, Keerthi (DI SW ICS DVT CSF DV FS)" userId="a61e6969-d85e-42d5-913e-c7fe6fb96353" providerId="ADAL" clId="{8D2B4F8B-645F-482E-A867-56D9A41DB3EB}" dt="2023-11-15T09:24:19.730" v="1049"/>
          <ac:spMkLst>
            <pc:docMk/>
            <pc:sldMk cId="2950444623" sldId="1214"/>
            <ac:spMk id="143" creationId="{C38A20C5-31D8-CDCC-300E-06EC6E1FFDE0}"/>
          </ac:spMkLst>
        </pc:spChg>
        <pc:spChg chg="mod">
          <ac:chgData name="Devraj, Keerthi (DI SW ICS DVT CSF DV FS)" userId="a61e6969-d85e-42d5-913e-c7fe6fb96353" providerId="ADAL" clId="{8D2B4F8B-645F-482E-A867-56D9A41DB3EB}" dt="2023-11-15T09:24:19.730" v="1049"/>
          <ac:spMkLst>
            <pc:docMk/>
            <pc:sldMk cId="2950444623" sldId="1214"/>
            <ac:spMk id="144" creationId="{95811B83-F249-5DC8-FF83-48080B4AB412}"/>
          </ac:spMkLst>
        </pc:spChg>
        <pc:spChg chg="mod">
          <ac:chgData name="Devraj, Keerthi (DI SW ICS DVT CSF DV FS)" userId="a61e6969-d85e-42d5-913e-c7fe6fb96353" providerId="ADAL" clId="{8D2B4F8B-645F-482E-A867-56D9A41DB3EB}" dt="2023-11-15T09:24:19.730" v="1049"/>
          <ac:spMkLst>
            <pc:docMk/>
            <pc:sldMk cId="2950444623" sldId="1214"/>
            <ac:spMk id="152" creationId="{6C23591D-C8B5-44D1-1BA0-63FBFD698FAA}"/>
          </ac:spMkLst>
        </pc:spChg>
        <pc:spChg chg="mod">
          <ac:chgData name="Devraj, Keerthi (DI SW ICS DVT CSF DV FS)" userId="a61e6969-d85e-42d5-913e-c7fe6fb96353" providerId="ADAL" clId="{8D2B4F8B-645F-482E-A867-56D9A41DB3EB}" dt="2023-11-15T09:24:19.730" v="1049"/>
          <ac:spMkLst>
            <pc:docMk/>
            <pc:sldMk cId="2950444623" sldId="1214"/>
            <ac:spMk id="153" creationId="{216D9B75-5CA1-B27E-D7C1-F448B7233317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38:52.180" v="1080" actId="207"/>
          <ac:spMkLst>
            <pc:docMk/>
            <pc:sldMk cId="2950444623" sldId="1214"/>
            <ac:spMk id="154" creationId="{640F5B93-A98A-A63D-E084-F5C40FDF08C4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24:19.730" v="1049"/>
          <ac:spMkLst>
            <pc:docMk/>
            <pc:sldMk cId="2950444623" sldId="1214"/>
            <ac:spMk id="155" creationId="{692303D5-1730-6198-3362-C42B1E976850}"/>
          </ac:spMkLst>
        </pc:spChg>
        <pc:spChg chg="mod">
          <ac:chgData name="Devraj, Keerthi (DI SW ICS DVT CSF DV FS)" userId="a61e6969-d85e-42d5-913e-c7fe6fb96353" providerId="ADAL" clId="{8D2B4F8B-645F-482E-A867-56D9A41DB3EB}" dt="2023-11-15T09:24:19.730" v="1049"/>
          <ac:spMkLst>
            <pc:docMk/>
            <pc:sldMk cId="2950444623" sldId="1214"/>
            <ac:spMk id="157" creationId="{D4C14A65-D376-6B8F-48D8-075562A0E75E}"/>
          </ac:spMkLst>
        </pc:spChg>
        <pc:spChg chg="mod">
          <ac:chgData name="Devraj, Keerthi (DI SW ICS DVT CSF DV FS)" userId="a61e6969-d85e-42d5-913e-c7fe6fb96353" providerId="ADAL" clId="{8D2B4F8B-645F-482E-A867-56D9A41DB3EB}" dt="2023-11-15T09:24:19.730" v="1049"/>
          <ac:spMkLst>
            <pc:docMk/>
            <pc:sldMk cId="2950444623" sldId="1214"/>
            <ac:spMk id="159" creationId="{C86C238E-ADA4-9693-D169-392A43B0AB62}"/>
          </ac:spMkLst>
        </pc:spChg>
        <pc:spChg chg="mod">
          <ac:chgData name="Devraj, Keerthi (DI SW ICS DVT CSF DV FS)" userId="a61e6969-d85e-42d5-913e-c7fe6fb96353" providerId="ADAL" clId="{8D2B4F8B-645F-482E-A867-56D9A41DB3EB}" dt="2023-11-15T09:24:19.730" v="1049"/>
          <ac:spMkLst>
            <pc:docMk/>
            <pc:sldMk cId="2950444623" sldId="1214"/>
            <ac:spMk id="160" creationId="{1F5A6150-AB9F-85BC-4208-EBA9A0B5469B}"/>
          </ac:spMkLst>
        </pc:spChg>
        <pc:spChg chg="mod">
          <ac:chgData name="Devraj, Keerthi (DI SW ICS DVT CSF DV FS)" userId="a61e6969-d85e-42d5-913e-c7fe6fb96353" providerId="ADAL" clId="{8D2B4F8B-645F-482E-A867-56D9A41DB3EB}" dt="2023-11-15T09:24:19.730" v="1049"/>
          <ac:spMkLst>
            <pc:docMk/>
            <pc:sldMk cId="2950444623" sldId="1214"/>
            <ac:spMk id="161" creationId="{CA56953F-9802-3999-7091-286805F795BF}"/>
          </ac:spMkLst>
        </pc:spChg>
        <pc:spChg chg="mod">
          <ac:chgData name="Devraj, Keerthi (DI SW ICS DVT CSF DV FS)" userId="a61e6969-d85e-42d5-913e-c7fe6fb96353" providerId="ADAL" clId="{8D2B4F8B-645F-482E-A867-56D9A41DB3EB}" dt="2023-11-15T09:24:19.730" v="1049"/>
          <ac:spMkLst>
            <pc:docMk/>
            <pc:sldMk cId="2950444623" sldId="1214"/>
            <ac:spMk id="169" creationId="{8CE5C9C2-9A09-EB73-C205-D59E7DB7CE17}"/>
          </ac:spMkLst>
        </pc:spChg>
        <pc:spChg chg="mod">
          <ac:chgData name="Devraj, Keerthi (DI SW ICS DVT CSF DV FS)" userId="a61e6969-d85e-42d5-913e-c7fe6fb96353" providerId="ADAL" clId="{8D2B4F8B-645F-482E-A867-56D9A41DB3EB}" dt="2023-11-15T09:24:19.730" v="1049"/>
          <ac:spMkLst>
            <pc:docMk/>
            <pc:sldMk cId="2950444623" sldId="1214"/>
            <ac:spMk id="170" creationId="{A7CC1A8F-A2EF-34B3-23E8-2A74A7DFAD32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24:19.730" v="1049"/>
          <ac:spMkLst>
            <pc:docMk/>
            <pc:sldMk cId="2950444623" sldId="1214"/>
            <ac:spMk id="171" creationId="{27DAD000-5DA6-4B61-A6BC-72AA8FEE87B5}"/>
          </ac:spMkLst>
        </pc:spChg>
        <pc:spChg chg="mod">
          <ac:chgData name="Devraj, Keerthi (DI SW ICS DVT CSF DV FS)" userId="a61e6969-d85e-42d5-913e-c7fe6fb96353" providerId="ADAL" clId="{8D2B4F8B-645F-482E-A867-56D9A41DB3EB}" dt="2023-11-15T09:24:19.730" v="1049"/>
          <ac:spMkLst>
            <pc:docMk/>
            <pc:sldMk cId="2950444623" sldId="1214"/>
            <ac:spMk id="173" creationId="{75ADA992-1FDD-6A0E-E426-F71EA94113B3}"/>
          </ac:spMkLst>
        </pc:spChg>
        <pc:spChg chg="mod">
          <ac:chgData name="Devraj, Keerthi (DI SW ICS DVT CSF DV FS)" userId="a61e6969-d85e-42d5-913e-c7fe6fb96353" providerId="ADAL" clId="{8D2B4F8B-645F-482E-A867-56D9A41DB3EB}" dt="2023-11-15T09:24:19.730" v="1049"/>
          <ac:spMkLst>
            <pc:docMk/>
            <pc:sldMk cId="2950444623" sldId="1214"/>
            <ac:spMk id="175" creationId="{84699A21-27AC-3D05-6CAD-FE378884A6F9}"/>
          </ac:spMkLst>
        </pc:spChg>
        <pc:spChg chg="mod">
          <ac:chgData name="Devraj, Keerthi (DI SW ICS DVT CSF DV FS)" userId="a61e6969-d85e-42d5-913e-c7fe6fb96353" providerId="ADAL" clId="{8D2B4F8B-645F-482E-A867-56D9A41DB3EB}" dt="2023-11-15T09:24:19.730" v="1049"/>
          <ac:spMkLst>
            <pc:docMk/>
            <pc:sldMk cId="2950444623" sldId="1214"/>
            <ac:spMk id="176" creationId="{5404AFB1-A9D0-72BD-5E80-2940B65B9CE4}"/>
          </ac:spMkLst>
        </pc:spChg>
        <pc:spChg chg="mod">
          <ac:chgData name="Devraj, Keerthi (DI SW ICS DVT CSF DV FS)" userId="a61e6969-d85e-42d5-913e-c7fe6fb96353" providerId="ADAL" clId="{8D2B4F8B-645F-482E-A867-56D9A41DB3EB}" dt="2023-11-15T09:24:19.730" v="1049"/>
          <ac:spMkLst>
            <pc:docMk/>
            <pc:sldMk cId="2950444623" sldId="1214"/>
            <ac:spMk id="177" creationId="{CA8068FF-6D3A-5BA7-9539-5DB4114A9391}"/>
          </ac:spMkLst>
        </pc:spChg>
        <pc:spChg chg="mod">
          <ac:chgData name="Devraj, Keerthi (DI SW ICS DVT CSF DV FS)" userId="a61e6969-d85e-42d5-913e-c7fe6fb96353" providerId="ADAL" clId="{8D2B4F8B-645F-482E-A867-56D9A41DB3EB}" dt="2023-11-15T09:24:19.730" v="1049"/>
          <ac:spMkLst>
            <pc:docMk/>
            <pc:sldMk cId="2950444623" sldId="1214"/>
            <ac:spMk id="185" creationId="{29F4F973-F536-759D-BAC4-CDC7CD9F3CA1}"/>
          </ac:spMkLst>
        </pc:spChg>
        <pc:spChg chg="mod">
          <ac:chgData name="Devraj, Keerthi (DI SW ICS DVT CSF DV FS)" userId="a61e6969-d85e-42d5-913e-c7fe6fb96353" providerId="ADAL" clId="{8D2B4F8B-645F-482E-A867-56D9A41DB3EB}" dt="2023-11-15T09:24:19.730" v="1049"/>
          <ac:spMkLst>
            <pc:docMk/>
            <pc:sldMk cId="2950444623" sldId="1214"/>
            <ac:spMk id="186" creationId="{6F44F806-E13B-8F01-23C9-835C4C80A4B4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24:19.730" v="1049"/>
          <ac:spMkLst>
            <pc:docMk/>
            <pc:sldMk cId="2950444623" sldId="1214"/>
            <ac:spMk id="187" creationId="{9B585404-7BFD-0D8B-71E2-E43855A4F53B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24:34.191" v="1055" actId="20577"/>
          <ac:spMkLst>
            <pc:docMk/>
            <pc:sldMk cId="2950444623" sldId="1214"/>
            <ac:spMk id="188" creationId="{6E724378-E134-0DFD-8892-B3D2EE67E607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24:19.730" v="1049"/>
          <ac:spMkLst>
            <pc:docMk/>
            <pc:sldMk cId="2950444623" sldId="1214"/>
            <ac:spMk id="189" creationId="{A5691D00-8730-755C-259D-A3CE479D9EC6}"/>
          </ac:spMkLst>
        </pc:spChg>
        <pc:spChg chg="mod">
          <ac:chgData name="Devraj, Keerthi (DI SW ICS DVT CSF DV FS)" userId="a61e6969-d85e-42d5-913e-c7fe6fb96353" providerId="ADAL" clId="{8D2B4F8B-645F-482E-A867-56D9A41DB3EB}" dt="2023-11-15T09:24:19.730" v="1049"/>
          <ac:spMkLst>
            <pc:docMk/>
            <pc:sldMk cId="2950444623" sldId="1214"/>
            <ac:spMk id="191" creationId="{0005C569-6412-1C96-9A92-7159A5A7C9ED}"/>
          </ac:spMkLst>
        </pc:spChg>
        <pc:spChg chg="mod">
          <ac:chgData name="Devraj, Keerthi (DI SW ICS DVT CSF DV FS)" userId="a61e6969-d85e-42d5-913e-c7fe6fb96353" providerId="ADAL" clId="{8D2B4F8B-645F-482E-A867-56D9A41DB3EB}" dt="2023-11-15T09:24:19.730" v="1049"/>
          <ac:spMkLst>
            <pc:docMk/>
            <pc:sldMk cId="2950444623" sldId="1214"/>
            <ac:spMk id="193" creationId="{A6A192AC-6F67-4BCA-D44C-5929F0552FE9}"/>
          </ac:spMkLst>
        </pc:spChg>
        <pc:spChg chg="mod">
          <ac:chgData name="Devraj, Keerthi (DI SW ICS DVT CSF DV FS)" userId="a61e6969-d85e-42d5-913e-c7fe6fb96353" providerId="ADAL" clId="{8D2B4F8B-645F-482E-A867-56D9A41DB3EB}" dt="2023-11-15T09:24:19.730" v="1049"/>
          <ac:spMkLst>
            <pc:docMk/>
            <pc:sldMk cId="2950444623" sldId="1214"/>
            <ac:spMk id="194" creationId="{82548C10-50EB-D553-AD0E-98A0DF0694D2}"/>
          </ac:spMkLst>
        </pc:spChg>
        <pc:spChg chg="mod">
          <ac:chgData name="Devraj, Keerthi (DI SW ICS DVT CSF DV FS)" userId="a61e6969-d85e-42d5-913e-c7fe6fb96353" providerId="ADAL" clId="{8D2B4F8B-645F-482E-A867-56D9A41DB3EB}" dt="2023-11-15T09:24:19.730" v="1049"/>
          <ac:spMkLst>
            <pc:docMk/>
            <pc:sldMk cId="2950444623" sldId="1214"/>
            <ac:spMk id="195" creationId="{7D38986C-332E-6EC4-8610-8F900BE26BAD}"/>
          </ac:spMkLst>
        </pc:spChg>
        <pc:spChg chg="mod">
          <ac:chgData name="Devraj, Keerthi (DI SW ICS DVT CSF DV FS)" userId="a61e6969-d85e-42d5-913e-c7fe6fb96353" providerId="ADAL" clId="{8D2B4F8B-645F-482E-A867-56D9A41DB3EB}" dt="2023-11-15T09:24:19.730" v="1049"/>
          <ac:spMkLst>
            <pc:docMk/>
            <pc:sldMk cId="2950444623" sldId="1214"/>
            <ac:spMk id="203" creationId="{5A3ABF9E-E64A-6FBA-703F-7395F2B783E1}"/>
          </ac:spMkLst>
        </pc:spChg>
        <pc:spChg chg="mod">
          <ac:chgData name="Devraj, Keerthi (DI SW ICS DVT CSF DV FS)" userId="a61e6969-d85e-42d5-913e-c7fe6fb96353" providerId="ADAL" clId="{8D2B4F8B-645F-482E-A867-56D9A41DB3EB}" dt="2023-11-15T09:24:19.730" v="1049"/>
          <ac:spMkLst>
            <pc:docMk/>
            <pc:sldMk cId="2950444623" sldId="1214"/>
            <ac:spMk id="204" creationId="{76BD10B2-EC0F-8A81-A6E6-BA65C267DECA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42:59.834" v="1367"/>
          <ac:spMkLst>
            <pc:docMk/>
            <pc:sldMk cId="2950444623" sldId="1214"/>
            <ac:spMk id="210" creationId="{614B5270-EEF4-A99E-A287-04904C697C2A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42:59.834" v="1367"/>
          <ac:spMkLst>
            <pc:docMk/>
            <pc:sldMk cId="2950444623" sldId="1214"/>
            <ac:spMk id="211" creationId="{1F81F625-66DF-A515-4572-26988724C0B2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42:59.834" v="1367"/>
          <ac:spMkLst>
            <pc:docMk/>
            <pc:sldMk cId="2950444623" sldId="1214"/>
            <ac:spMk id="212" creationId="{3F9323CB-4ECE-20C1-E8BC-746B88C0E4D0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42:59.834" v="1367"/>
          <ac:spMkLst>
            <pc:docMk/>
            <pc:sldMk cId="2950444623" sldId="1214"/>
            <ac:spMk id="213" creationId="{396387B5-04B9-95D2-D4BF-3EB0D6FE450E}"/>
          </ac:spMkLst>
        </pc:spChg>
        <pc:grpChg chg="del">
          <ac:chgData name="Devraj, Keerthi (DI SW ICS DVT CSF DV FS)" userId="a61e6969-d85e-42d5-913e-c7fe6fb96353" providerId="ADAL" clId="{8D2B4F8B-645F-482E-A867-56D9A41DB3EB}" dt="2023-11-15T09:24:18.934" v="1048" actId="478"/>
          <ac:grpSpMkLst>
            <pc:docMk/>
            <pc:sldMk cId="2950444623" sldId="1214"/>
            <ac:grpSpMk id="9" creationId="{4DB1408E-22E5-90B9-8129-ED273F6BC6DE}"/>
          </ac:grpSpMkLst>
        </pc:grpChg>
        <pc:grpChg chg="del">
          <ac:chgData name="Devraj, Keerthi (DI SW ICS DVT CSF DV FS)" userId="a61e6969-d85e-42d5-913e-c7fe6fb96353" providerId="ADAL" clId="{8D2B4F8B-645F-482E-A867-56D9A41DB3EB}" dt="2023-11-15T09:24:18.934" v="1048" actId="478"/>
          <ac:grpSpMkLst>
            <pc:docMk/>
            <pc:sldMk cId="2950444623" sldId="1214"/>
            <ac:grpSpMk id="16" creationId="{8DFE768B-1B27-9933-84B9-075E012B19EC}"/>
          </ac:grpSpMkLst>
        </pc:grpChg>
        <pc:grpChg chg="del">
          <ac:chgData name="Devraj, Keerthi (DI SW ICS DVT CSF DV FS)" userId="a61e6969-d85e-42d5-913e-c7fe6fb96353" providerId="ADAL" clId="{8D2B4F8B-645F-482E-A867-56D9A41DB3EB}" dt="2023-11-15T09:24:18.934" v="1048" actId="478"/>
          <ac:grpSpMkLst>
            <pc:docMk/>
            <pc:sldMk cId="2950444623" sldId="1214"/>
            <ac:grpSpMk id="23" creationId="{89EF888B-DECA-17F7-28EB-88A37C4333EA}"/>
          </ac:grpSpMkLst>
        </pc:grpChg>
        <pc:grpChg chg="del">
          <ac:chgData name="Devraj, Keerthi (DI SW ICS DVT CSF DV FS)" userId="a61e6969-d85e-42d5-913e-c7fe6fb96353" providerId="ADAL" clId="{8D2B4F8B-645F-482E-A867-56D9A41DB3EB}" dt="2023-11-15T09:24:18.934" v="1048" actId="478"/>
          <ac:grpSpMkLst>
            <pc:docMk/>
            <pc:sldMk cId="2950444623" sldId="1214"/>
            <ac:grpSpMk id="38" creationId="{96554891-E85F-4B6A-7755-95A9707963AF}"/>
          </ac:grpSpMkLst>
        </pc:grpChg>
        <pc:grpChg chg="del">
          <ac:chgData name="Devraj, Keerthi (DI SW ICS DVT CSF DV FS)" userId="a61e6969-d85e-42d5-913e-c7fe6fb96353" providerId="ADAL" clId="{8D2B4F8B-645F-482E-A867-56D9A41DB3EB}" dt="2023-11-15T09:24:18.934" v="1048" actId="478"/>
          <ac:grpSpMkLst>
            <pc:docMk/>
            <pc:sldMk cId="2950444623" sldId="1214"/>
            <ac:grpSpMk id="55" creationId="{D27F0E8B-DBBC-1CB3-C478-BEC172D441F6}"/>
          </ac:grpSpMkLst>
        </pc:grpChg>
        <pc:grpChg chg="del">
          <ac:chgData name="Devraj, Keerthi (DI SW ICS DVT CSF DV FS)" userId="a61e6969-d85e-42d5-913e-c7fe6fb96353" providerId="ADAL" clId="{8D2B4F8B-645F-482E-A867-56D9A41DB3EB}" dt="2023-11-15T09:24:18.934" v="1048" actId="478"/>
          <ac:grpSpMkLst>
            <pc:docMk/>
            <pc:sldMk cId="2950444623" sldId="1214"/>
            <ac:grpSpMk id="71" creationId="{B311CB16-6394-3E9F-221B-CD8F6D95A015}"/>
          </ac:grpSpMkLst>
        </pc:grpChg>
        <pc:grpChg chg="del">
          <ac:chgData name="Devraj, Keerthi (DI SW ICS DVT CSF DV FS)" userId="a61e6969-d85e-42d5-913e-c7fe6fb96353" providerId="ADAL" clId="{8D2B4F8B-645F-482E-A867-56D9A41DB3EB}" dt="2023-11-15T09:24:18.934" v="1048" actId="478"/>
          <ac:grpSpMkLst>
            <pc:docMk/>
            <pc:sldMk cId="2950444623" sldId="1214"/>
            <ac:grpSpMk id="89" creationId="{83147597-03AC-DBE2-5B8A-B734B36B00B7}"/>
          </ac:grpSpMkLst>
        </pc:grpChg>
        <pc:grpChg chg="add mod">
          <ac:chgData name="Devraj, Keerthi (DI SW ICS DVT CSF DV FS)" userId="a61e6969-d85e-42d5-913e-c7fe6fb96353" providerId="ADAL" clId="{8D2B4F8B-645F-482E-A867-56D9A41DB3EB}" dt="2023-11-15T09:24:19.730" v="1049"/>
          <ac:grpSpMkLst>
            <pc:docMk/>
            <pc:sldMk cId="2950444623" sldId="1214"/>
            <ac:grpSpMk id="110" creationId="{5F1F362D-C890-8957-692A-43217A46E3F5}"/>
          </ac:grpSpMkLst>
        </pc:grpChg>
        <pc:grpChg chg="add mod">
          <ac:chgData name="Devraj, Keerthi (DI SW ICS DVT CSF DV FS)" userId="a61e6969-d85e-42d5-913e-c7fe6fb96353" providerId="ADAL" clId="{8D2B4F8B-645F-482E-A867-56D9A41DB3EB}" dt="2023-11-15T09:24:19.730" v="1049"/>
          <ac:grpSpMkLst>
            <pc:docMk/>
            <pc:sldMk cId="2950444623" sldId="1214"/>
            <ac:grpSpMk id="117" creationId="{BF001716-B7B3-613F-A53C-639358DA7176}"/>
          </ac:grpSpMkLst>
        </pc:grpChg>
        <pc:grpChg chg="add mod">
          <ac:chgData name="Devraj, Keerthi (DI SW ICS DVT CSF DV FS)" userId="a61e6969-d85e-42d5-913e-c7fe6fb96353" providerId="ADAL" clId="{8D2B4F8B-645F-482E-A867-56D9A41DB3EB}" dt="2023-11-15T09:24:19.730" v="1049"/>
          <ac:grpSpMkLst>
            <pc:docMk/>
            <pc:sldMk cId="2950444623" sldId="1214"/>
            <ac:grpSpMk id="124" creationId="{DDE4D3B8-116A-5754-6341-53C5CDFDEAC0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24:19.730" v="1049"/>
          <ac:grpSpMkLst>
            <pc:docMk/>
            <pc:sldMk cId="2950444623" sldId="1214"/>
            <ac:grpSpMk id="126" creationId="{9BD10CB8-B854-1ABD-F4EA-47FA3AA2E885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24:19.730" v="1049"/>
          <ac:grpSpMkLst>
            <pc:docMk/>
            <pc:sldMk cId="2950444623" sldId="1214"/>
            <ac:grpSpMk id="136" creationId="{6BCDEECC-8C38-95B6-E9F8-C3D1C0BF1857}"/>
          </ac:grpSpMkLst>
        </pc:grpChg>
        <pc:grpChg chg="add mod">
          <ac:chgData name="Devraj, Keerthi (DI SW ICS DVT CSF DV FS)" userId="a61e6969-d85e-42d5-913e-c7fe6fb96353" providerId="ADAL" clId="{8D2B4F8B-645F-482E-A867-56D9A41DB3EB}" dt="2023-11-15T09:24:19.730" v="1049"/>
          <ac:grpSpMkLst>
            <pc:docMk/>
            <pc:sldMk cId="2950444623" sldId="1214"/>
            <ac:grpSpMk id="139" creationId="{FAA3E041-5C20-C926-BE12-14B865981AA8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24:19.730" v="1049"/>
          <ac:grpSpMkLst>
            <pc:docMk/>
            <pc:sldMk cId="2950444623" sldId="1214"/>
            <ac:grpSpMk id="141" creationId="{1371726B-66E1-C6B2-2BAD-C0DE07D3568D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24:19.730" v="1049"/>
          <ac:grpSpMkLst>
            <pc:docMk/>
            <pc:sldMk cId="2950444623" sldId="1214"/>
            <ac:grpSpMk id="151" creationId="{97D7CBB3-3A63-49FB-486D-E648267230CC}"/>
          </ac:grpSpMkLst>
        </pc:grpChg>
        <pc:grpChg chg="add mod">
          <ac:chgData name="Devraj, Keerthi (DI SW ICS DVT CSF DV FS)" userId="a61e6969-d85e-42d5-913e-c7fe6fb96353" providerId="ADAL" clId="{8D2B4F8B-645F-482E-A867-56D9A41DB3EB}" dt="2023-11-15T09:24:19.730" v="1049"/>
          <ac:grpSpMkLst>
            <pc:docMk/>
            <pc:sldMk cId="2950444623" sldId="1214"/>
            <ac:grpSpMk id="156" creationId="{213D39B0-BB3C-317E-7CB8-11AA17589470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24:19.730" v="1049"/>
          <ac:grpSpMkLst>
            <pc:docMk/>
            <pc:sldMk cId="2950444623" sldId="1214"/>
            <ac:grpSpMk id="158" creationId="{DDA4C68F-1073-5271-8003-D687E8B8AF5E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24:19.730" v="1049"/>
          <ac:grpSpMkLst>
            <pc:docMk/>
            <pc:sldMk cId="2950444623" sldId="1214"/>
            <ac:grpSpMk id="168" creationId="{5C46C2B4-978B-638D-1C72-357E8E1A34B2}"/>
          </ac:grpSpMkLst>
        </pc:grpChg>
        <pc:grpChg chg="add mod">
          <ac:chgData name="Devraj, Keerthi (DI SW ICS DVT CSF DV FS)" userId="a61e6969-d85e-42d5-913e-c7fe6fb96353" providerId="ADAL" clId="{8D2B4F8B-645F-482E-A867-56D9A41DB3EB}" dt="2023-11-15T09:24:19.730" v="1049"/>
          <ac:grpSpMkLst>
            <pc:docMk/>
            <pc:sldMk cId="2950444623" sldId="1214"/>
            <ac:grpSpMk id="172" creationId="{2E85DA6A-3CFD-FD61-CE73-34CD3C569C92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24:19.730" v="1049"/>
          <ac:grpSpMkLst>
            <pc:docMk/>
            <pc:sldMk cId="2950444623" sldId="1214"/>
            <ac:grpSpMk id="174" creationId="{640A13D7-2DBE-EE40-1F64-4340D9E3DE64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24:19.730" v="1049"/>
          <ac:grpSpMkLst>
            <pc:docMk/>
            <pc:sldMk cId="2950444623" sldId="1214"/>
            <ac:grpSpMk id="184" creationId="{6C89930E-45FA-60FC-48C4-70912176CAC0}"/>
          </ac:grpSpMkLst>
        </pc:grpChg>
        <pc:grpChg chg="add mod">
          <ac:chgData name="Devraj, Keerthi (DI SW ICS DVT CSF DV FS)" userId="a61e6969-d85e-42d5-913e-c7fe6fb96353" providerId="ADAL" clId="{8D2B4F8B-645F-482E-A867-56D9A41DB3EB}" dt="2023-11-15T09:24:19.730" v="1049"/>
          <ac:grpSpMkLst>
            <pc:docMk/>
            <pc:sldMk cId="2950444623" sldId="1214"/>
            <ac:grpSpMk id="190" creationId="{64E08F3E-4DAE-EBF5-5DA7-9EB5784BC4F6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24:19.730" v="1049"/>
          <ac:grpSpMkLst>
            <pc:docMk/>
            <pc:sldMk cId="2950444623" sldId="1214"/>
            <ac:grpSpMk id="192" creationId="{C8C78435-224D-D2F3-E9B1-A4CE603117B7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24:19.730" v="1049"/>
          <ac:grpSpMkLst>
            <pc:docMk/>
            <pc:sldMk cId="2950444623" sldId="1214"/>
            <ac:grpSpMk id="202" creationId="{EA25EB2F-264C-C226-22D3-52B73A75D034}"/>
          </ac:grpSpMkLst>
        </pc:grpChg>
        <pc:cxnChg chg="del mod">
          <ac:chgData name="Devraj, Keerthi (DI SW ICS DVT CSF DV FS)" userId="a61e6969-d85e-42d5-913e-c7fe6fb96353" providerId="ADAL" clId="{8D2B4F8B-645F-482E-A867-56D9A41DB3EB}" dt="2023-11-15T09:24:18.934" v="1048" actId="478"/>
          <ac:cxnSpMkLst>
            <pc:docMk/>
            <pc:sldMk cId="2950444623" sldId="1214"/>
            <ac:cxnSpMk id="104" creationId="{76575DC5-EB38-5F25-2F6C-D21E3BA11DF2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19.730" v="1049"/>
          <ac:cxnSpMkLst>
            <pc:docMk/>
            <pc:sldMk cId="2950444623" sldId="1214"/>
            <ac:cxnSpMk id="111" creationId="{11F5F7EA-1DB5-0C7E-C608-67DE063E9251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19.730" v="1049"/>
          <ac:cxnSpMkLst>
            <pc:docMk/>
            <pc:sldMk cId="2950444623" sldId="1214"/>
            <ac:cxnSpMk id="112" creationId="{90D427BE-1D08-BC4B-A50F-8C656389B28C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19.730" v="1049"/>
          <ac:cxnSpMkLst>
            <pc:docMk/>
            <pc:sldMk cId="2950444623" sldId="1214"/>
            <ac:cxnSpMk id="113" creationId="{74C72B76-36EE-3DFF-2439-9D7609233844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19.730" v="1049"/>
          <ac:cxnSpMkLst>
            <pc:docMk/>
            <pc:sldMk cId="2950444623" sldId="1214"/>
            <ac:cxnSpMk id="114" creationId="{5FF96EFE-2801-2799-EDFD-9620D7F1DFAC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19.730" v="1049"/>
          <ac:cxnSpMkLst>
            <pc:docMk/>
            <pc:sldMk cId="2950444623" sldId="1214"/>
            <ac:cxnSpMk id="115" creationId="{A9DE0B83-D0A5-A949-16E2-60C9DEB972CF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19.730" v="1049"/>
          <ac:cxnSpMkLst>
            <pc:docMk/>
            <pc:sldMk cId="2950444623" sldId="1214"/>
            <ac:cxnSpMk id="116" creationId="{08B5744A-3EC7-E820-1B79-9F24D74633A8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19.730" v="1049"/>
          <ac:cxnSpMkLst>
            <pc:docMk/>
            <pc:sldMk cId="2950444623" sldId="1214"/>
            <ac:cxnSpMk id="118" creationId="{DA6026D8-31B9-EE44-3CC3-308D6FCF740F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19.730" v="1049"/>
          <ac:cxnSpMkLst>
            <pc:docMk/>
            <pc:sldMk cId="2950444623" sldId="1214"/>
            <ac:cxnSpMk id="119" creationId="{E03F2764-4AFD-F8A9-4532-74741B8F2FFE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19.730" v="1049"/>
          <ac:cxnSpMkLst>
            <pc:docMk/>
            <pc:sldMk cId="2950444623" sldId="1214"/>
            <ac:cxnSpMk id="120" creationId="{0C4ABA66-D7FE-7808-8198-F254D46677D8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19.730" v="1049"/>
          <ac:cxnSpMkLst>
            <pc:docMk/>
            <pc:sldMk cId="2950444623" sldId="1214"/>
            <ac:cxnSpMk id="121" creationId="{E9705FED-5BD8-B425-5C4E-CD0814F90817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19.730" v="1049"/>
          <ac:cxnSpMkLst>
            <pc:docMk/>
            <pc:sldMk cId="2950444623" sldId="1214"/>
            <ac:cxnSpMk id="122" creationId="{3944D231-7EE1-3DB9-E37A-DCB13AA682C2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19.730" v="1049"/>
          <ac:cxnSpMkLst>
            <pc:docMk/>
            <pc:sldMk cId="2950444623" sldId="1214"/>
            <ac:cxnSpMk id="123" creationId="{F7829585-D997-CED0-6F96-E0AB40CE586A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19.730" v="1049"/>
          <ac:cxnSpMkLst>
            <pc:docMk/>
            <pc:sldMk cId="2950444623" sldId="1214"/>
            <ac:cxnSpMk id="130" creationId="{EF13F419-9CF6-36D4-B5F3-C08000D4223F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19.730" v="1049"/>
          <ac:cxnSpMkLst>
            <pc:docMk/>
            <pc:sldMk cId="2950444623" sldId="1214"/>
            <ac:cxnSpMk id="131" creationId="{4E52F4A3-42BA-9481-635D-B9970F1FB8F8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19.730" v="1049"/>
          <ac:cxnSpMkLst>
            <pc:docMk/>
            <pc:sldMk cId="2950444623" sldId="1214"/>
            <ac:cxnSpMk id="132" creationId="{38D4F408-29B6-8CD1-2262-A9CC1817EFA8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19.730" v="1049"/>
          <ac:cxnSpMkLst>
            <pc:docMk/>
            <pc:sldMk cId="2950444623" sldId="1214"/>
            <ac:cxnSpMk id="133" creationId="{4C8C562C-163A-08FD-07C5-4AC94DADAF36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19.730" v="1049"/>
          <ac:cxnSpMkLst>
            <pc:docMk/>
            <pc:sldMk cId="2950444623" sldId="1214"/>
            <ac:cxnSpMk id="134" creationId="{A4FE69E9-F55E-052E-2B19-12EF2D2B4006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19.730" v="1049"/>
          <ac:cxnSpMkLst>
            <pc:docMk/>
            <pc:sldMk cId="2950444623" sldId="1214"/>
            <ac:cxnSpMk id="135" creationId="{B5CA920F-A378-473C-A957-B932FA39113F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19.730" v="1049"/>
          <ac:cxnSpMkLst>
            <pc:docMk/>
            <pc:sldMk cId="2950444623" sldId="1214"/>
            <ac:cxnSpMk id="145" creationId="{E4B4150F-F1DF-8615-722D-D83016BD9FC9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19.730" v="1049"/>
          <ac:cxnSpMkLst>
            <pc:docMk/>
            <pc:sldMk cId="2950444623" sldId="1214"/>
            <ac:cxnSpMk id="146" creationId="{B09CCF00-A0CC-3B79-0586-94D96C968BBA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19.730" v="1049"/>
          <ac:cxnSpMkLst>
            <pc:docMk/>
            <pc:sldMk cId="2950444623" sldId="1214"/>
            <ac:cxnSpMk id="147" creationId="{D2506F95-153A-2772-09AC-71C3F018BAED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19.730" v="1049"/>
          <ac:cxnSpMkLst>
            <pc:docMk/>
            <pc:sldMk cId="2950444623" sldId="1214"/>
            <ac:cxnSpMk id="148" creationId="{FD883433-A725-4C1E-ED8D-D6BBD9D825DD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19.730" v="1049"/>
          <ac:cxnSpMkLst>
            <pc:docMk/>
            <pc:sldMk cId="2950444623" sldId="1214"/>
            <ac:cxnSpMk id="149" creationId="{9F3C3BC8-F128-D10A-18AF-1566CC0D4308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19.730" v="1049"/>
          <ac:cxnSpMkLst>
            <pc:docMk/>
            <pc:sldMk cId="2950444623" sldId="1214"/>
            <ac:cxnSpMk id="150" creationId="{520538EC-B48A-25F7-01EC-BB2A26F1EEA9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19.730" v="1049"/>
          <ac:cxnSpMkLst>
            <pc:docMk/>
            <pc:sldMk cId="2950444623" sldId="1214"/>
            <ac:cxnSpMk id="162" creationId="{4FA10C9F-E03D-02B6-EAE9-C11F64751C1C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19.730" v="1049"/>
          <ac:cxnSpMkLst>
            <pc:docMk/>
            <pc:sldMk cId="2950444623" sldId="1214"/>
            <ac:cxnSpMk id="163" creationId="{BCE9CB53-DACD-3A46-CAD5-3D1629792C7B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19.730" v="1049"/>
          <ac:cxnSpMkLst>
            <pc:docMk/>
            <pc:sldMk cId="2950444623" sldId="1214"/>
            <ac:cxnSpMk id="164" creationId="{7CB99232-A9C7-F4BD-54AE-1B6AA1F9667C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19.730" v="1049"/>
          <ac:cxnSpMkLst>
            <pc:docMk/>
            <pc:sldMk cId="2950444623" sldId="1214"/>
            <ac:cxnSpMk id="165" creationId="{0C52F1D5-86ED-C1ED-810C-1DB7EFBC1611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19.730" v="1049"/>
          <ac:cxnSpMkLst>
            <pc:docMk/>
            <pc:sldMk cId="2950444623" sldId="1214"/>
            <ac:cxnSpMk id="166" creationId="{A7DDA970-1B35-F4D5-E9B4-FC8293395033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19.730" v="1049"/>
          <ac:cxnSpMkLst>
            <pc:docMk/>
            <pc:sldMk cId="2950444623" sldId="1214"/>
            <ac:cxnSpMk id="167" creationId="{264D8E8C-6761-E0DF-A364-1D905A70521A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19.730" v="1049"/>
          <ac:cxnSpMkLst>
            <pc:docMk/>
            <pc:sldMk cId="2950444623" sldId="1214"/>
            <ac:cxnSpMk id="178" creationId="{50C5D772-4FC4-D776-90F2-C4A8D66B7E87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19.730" v="1049"/>
          <ac:cxnSpMkLst>
            <pc:docMk/>
            <pc:sldMk cId="2950444623" sldId="1214"/>
            <ac:cxnSpMk id="179" creationId="{55FB4170-CA76-F630-9C2A-3B8C0A076D70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19.730" v="1049"/>
          <ac:cxnSpMkLst>
            <pc:docMk/>
            <pc:sldMk cId="2950444623" sldId="1214"/>
            <ac:cxnSpMk id="180" creationId="{EE26B028-A9B6-AA14-0EF2-C90074D80EA3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19.730" v="1049"/>
          <ac:cxnSpMkLst>
            <pc:docMk/>
            <pc:sldMk cId="2950444623" sldId="1214"/>
            <ac:cxnSpMk id="181" creationId="{CEDB5F64-7AF7-EA6E-0843-ABEDD4537AFC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19.730" v="1049"/>
          <ac:cxnSpMkLst>
            <pc:docMk/>
            <pc:sldMk cId="2950444623" sldId="1214"/>
            <ac:cxnSpMk id="182" creationId="{05FEEE4D-E1CA-B9AA-9879-D72F5E662B43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19.730" v="1049"/>
          <ac:cxnSpMkLst>
            <pc:docMk/>
            <pc:sldMk cId="2950444623" sldId="1214"/>
            <ac:cxnSpMk id="183" creationId="{41A1C6F7-92B1-5789-6156-8C9CAFA120C7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19.730" v="1049"/>
          <ac:cxnSpMkLst>
            <pc:docMk/>
            <pc:sldMk cId="2950444623" sldId="1214"/>
            <ac:cxnSpMk id="196" creationId="{89F4DCBF-8D34-038D-CF57-0684C114CA67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19.730" v="1049"/>
          <ac:cxnSpMkLst>
            <pc:docMk/>
            <pc:sldMk cId="2950444623" sldId="1214"/>
            <ac:cxnSpMk id="197" creationId="{CC6FD827-5321-171C-AD1E-54F95B6F6FD4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19.730" v="1049"/>
          <ac:cxnSpMkLst>
            <pc:docMk/>
            <pc:sldMk cId="2950444623" sldId="1214"/>
            <ac:cxnSpMk id="198" creationId="{8624A9E8-969B-6610-6E95-B6BD37D8CB0A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19.730" v="1049"/>
          <ac:cxnSpMkLst>
            <pc:docMk/>
            <pc:sldMk cId="2950444623" sldId="1214"/>
            <ac:cxnSpMk id="199" creationId="{C36688D7-9B26-0F53-94AC-7BA8BCAE14C7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19.730" v="1049"/>
          <ac:cxnSpMkLst>
            <pc:docMk/>
            <pc:sldMk cId="2950444623" sldId="1214"/>
            <ac:cxnSpMk id="200" creationId="{2C024D17-E2EE-DD85-7C12-53B059CC4051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24:19.730" v="1049"/>
          <ac:cxnSpMkLst>
            <pc:docMk/>
            <pc:sldMk cId="2950444623" sldId="1214"/>
            <ac:cxnSpMk id="201" creationId="{A24D603D-7102-8269-411F-104B5DF13F21}"/>
          </ac:cxnSpMkLst>
        </pc:cxnChg>
        <pc:cxnChg chg="add mod">
          <ac:chgData name="Devraj, Keerthi (DI SW ICS DVT CSF DV FS)" userId="a61e6969-d85e-42d5-913e-c7fe6fb96353" providerId="ADAL" clId="{8D2B4F8B-645F-482E-A867-56D9A41DB3EB}" dt="2023-11-15T09:24:32.559" v="1053" actId="14100"/>
          <ac:cxnSpMkLst>
            <pc:docMk/>
            <pc:sldMk cId="2950444623" sldId="1214"/>
            <ac:cxnSpMk id="205" creationId="{AD7BF6A6-1B5D-D70E-F436-917A892B0ECF}"/>
          </ac:cxnSpMkLst>
        </pc:cxnChg>
      </pc:sldChg>
      <pc:sldChg chg="addSp delSp modSp add mod">
        <pc:chgData name="Devraj, Keerthi (DI SW ICS DVT CSF DV FS)" userId="a61e6969-d85e-42d5-913e-c7fe6fb96353" providerId="ADAL" clId="{8D2B4F8B-645F-482E-A867-56D9A41DB3EB}" dt="2023-11-15T09:42:48.951" v="1364" actId="1036"/>
        <pc:sldMkLst>
          <pc:docMk/>
          <pc:sldMk cId="1349099410" sldId="1215"/>
        </pc:sldMkLst>
        <pc:spChg chg="mod">
          <ac:chgData name="Devraj, Keerthi (DI SW ICS DVT CSF DV FS)" userId="a61e6969-d85e-42d5-913e-c7fe6fb96353" providerId="ADAL" clId="{8D2B4F8B-645F-482E-A867-56D9A41DB3EB}" dt="2023-11-15T09:38:13.788" v="1072" actId="20577"/>
          <ac:spMkLst>
            <pc:docMk/>
            <pc:sldMk cId="1349099410" sldId="1215"/>
            <ac:spMk id="2" creationId="{30A59CE0-18CE-9447-F486-84039784745F}"/>
          </ac:spMkLst>
        </pc:spChg>
        <pc:spChg chg="mod">
          <ac:chgData name="Devraj, Keerthi (DI SW ICS DVT CSF DV FS)" userId="a61e6969-d85e-42d5-913e-c7fe6fb96353" providerId="ADAL" clId="{8D2B4F8B-645F-482E-A867-56D9A41DB3EB}" dt="2023-11-15T09:38:49.750" v="1079" actId="1036"/>
          <ac:spMkLst>
            <pc:docMk/>
            <pc:sldMk cId="1349099410" sldId="1215"/>
            <ac:spMk id="3" creationId="{F2C9A97A-7CF3-D8E2-EC21-C4CB6F9DE30C}"/>
          </ac:spMkLst>
        </pc:spChg>
        <pc:spChg chg="del">
          <ac:chgData name="Devraj, Keerthi (DI SW ICS DVT CSF DV FS)" userId="a61e6969-d85e-42d5-913e-c7fe6fb96353" providerId="ADAL" clId="{8D2B4F8B-645F-482E-A867-56D9A41DB3EB}" dt="2023-11-15T09:42:42.001" v="1344" actId="478"/>
          <ac:spMkLst>
            <pc:docMk/>
            <pc:sldMk cId="1349099410" sldId="1215"/>
            <ac:spMk id="4" creationId="{3B90DFB3-87D2-54DF-F3F4-9D159BFF9360}"/>
          </ac:spMkLst>
        </pc:spChg>
        <pc:spChg chg="del">
          <ac:chgData name="Devraj, Keerthi (DI SW ICS DVT CSF DV FS)" userId="a61e6969-d85e-42d5-913e-c7fe6fb96353" providerId="ADAL" clId="{8D2B4F8B-645F-482E-A867-56D9A41DB3EB}" dt="2023-11-15T09:42:42.001" v="1344" actId="478"/>
          <ac:spMkLst>
            <pc:docMk/>
            <pc:sldMk cId="1349099410" sldId="1215"/>
            <ac:spMk id="5" creationId="{F417E931-445A-5EC5-0F7A-2C6E6CCA4DFF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38:37.019" v="1076"/>
          <ac:spMkLst>
            <pc:docMk/>
            <pc:sldMk cId="1349099410" sldId="1215"/>
            <ac:spMk id="7" creationId="{A9A715A7-D13B-5CCD-ACA0-7DD111CE98F8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38:37.019" v="1076"/>
          <ac:spMkLst>
            <pc:docMk/>
            <pc:sldMk cId="1349099410" sldId="1215"/>
            <ac:spMk id="8" creationId="{BF998526-6EAA-9091-E407-B5B56E422878}"/>
          </ac:spMkLst>
        </pc:spChg>
        <pc:spChg chg="mod">
          <ac:chgData name="Devraj, Keerthi (DI SW ICS DVT CSF DV FS)" userId="a61e6969-d85e-42d5-913e-c7fe6fb96353" providerId="ADAL" clId="{8D2B4F8B-645F-482E-A867-56D9A41DB3EB}" dt="2023-11-15T09:38:37.019" v="1076"/>
          <ac:spMkLst>
            <pc:docMk/>
            <pc:sldMk cId="1349099410" sldId="1215"/>
            <ac:spMk id="24" creationId="{B76116A8-2703-8179-29CD-CC15000A4EC9}"/>
          </ac:spMkLst>
        </pc:spChg>
        <pc:spChg chg="mod">
          <ac:chgData name="Devraj, Keerthi (DI SW ICS DVT CSF DV FS)" userId="a61e6969-d85e-42d5-913e-c7fe6fb96353" providerId="ADAL" clId="{8D2B4F8B-645F-482E-A867-56D9A41DB3EB}" dt="2023-11-15T09:38:37.019" v="1076"/>
          <ac:spMkLst>
            <pc:docMk/>
            <pc:sldMk cId="1349099410" sldId="1215"/>
            <ac:spMk id="26" creationId="{D975BAC1-FE64-0360-4D91-4A343F46F351}"/>
          </ac:spMkLst>
        </pc:spChg>
        <pc:spChg chg="mod">
          <ac:chgData name="Devraj, Keerthi (DI SW ICS DVT CSF DV FS)" userId="a61e6969-d85e-42d5-913e-c7fe6fb96353" providerId="ADAL" clId="{8D2B4F8B-645F-482E-A867-56D9A41DB3EB}" dt="2023-11-15T09:38:37.019" v="1076"/>
          <ac:spMkLst>
            <pc:docMk/>
            <pc:sldMk cId="1349099410" sldId="1215"/>
            <ac:spMk id="27" creationId="{0B9A42DD-E1F3-345A-68F9-4F4F34881CB7}"/>
          </ac:spMkLst>
        </pc:spChg>
        <pc:spChg chg="mod">
          <ac:chgData name="Devraj, Keerthi (DI SW ICS DVT CSF DV FS)" userId="a61e6969-d85e-42d5-913e-c7fe6fb96353" providerId="ADAL" clId="{8D2B4F8B-645F-482E-A867-56D9A41DB3EB}" dt="2023-11-15T09:38:37.019" v="1076"/>
          <ac:spMkLst>
            <pc:docMk/>
            <pc:sldMk cId="1349099410" sldId="1215"/>
            <ac:spMk id="28" creationId="{9F7FA2D5-453D-C926-51A7-4BE18F2761EE}"/>
          </ac:spMkLst>
        </pc:spChg>
        <pc:spChg chg="mod">
          <ac:chgData name="Devraj, Keerthi (DI SW ICS DVT CSF DV FS)" userId="a61e6969-d85e-42d5-913e-c7fe6fb96353" providerId="ADAL" clId="{8D2B4F8B-645F-482E-A867-56D9A41DB3EB}" dt="2023-11-15T09:38:37.019" v="1076"/>
          <ac:spMkLst>
            <pc:docMk/>
            <pc:sldMk cId="1349099410" sldId="1215"/>
            <ac:spMk id="100" creationId="{EE707F01-745C-580B-C88B-B5F2C59E6F7A}"/>
          </ac:spMkLst>
        </pc:spChg>
        <pc:spChg chg="mod">
          <ac:chgData name="Devraj, Keerthi (DI SW ICS DVT CSF DV FS)" userId="a61e6969-d85e-42d5-913e-c7fe6fb96353" providerId="ADAL" clId="{8D2B4F8B-645F-482E-A867-56D9A41DB3EB}" dt="2023-11-15T09:38:37.019" v="1076"/>
          <ac:spMkLst>
            <pc:docMk/>
            <pc:sldMk cId="1349099410" sldId="1215"/>
            <ac:spMk id="101" creationId="{90CD6014-F008-CB96-563A-8E6101141D8E}"/>
          </ac:spMkLst>
        </pc:spChg>
        <pc:spChg chg="mod">
          <ac:chgData name="Devraj, Keerthi (DI SW ICS DVT CSF DV FS)" userId="a61e6969-d85e-42d5-913e-c7fe6fb96353" providerId="ADAL" clId="{8D2B4F8B-645F-482E-A867-56D9A41DB3EB}" dt="2023-11-15T09:38:37.019" v="1076"/>
          <ac:spMkLst>
            <pc:docMk/>
            <pc:sldMk cId="1349099410" sldId="1215"/>
            <ac:spMk id="103" creationId="{28FACB84-35E8-2050-74BF-A2736CA01175}"/>
          </ac:spMkLst>
        </pc:spChg>
        <pc:spChg chg="del">
          <ac:chgData name="Devraj, Keerthi (DI SW ICS DVT CSF DV FS)" userId="a61e6969-d85e-42d5-913e-c7fe6fb96353" providerId="ADAL" clId="{8D2B4F8B-645F-482E-A867-56D9A41DB3EB}" dt="2023-11-15T09:42:42.001" v="1344" actId="478"/>
          <ac:spMkLst>
            <pc:docMk/>
            <pc:sldMk cId="1349099410" sldId="1215"/>
            <ac:spMk id="105" creationId="{1721180B-B612-7175-6363-4F6F3889FBEC}"/>
          </ac:spMkLst>
        </pc:spChg>
        <pc:spChg chg="del">
          <ac:chgData name="Devraj, Keerthi (DI SW ICS DVT CSF DV FS)" userId="a61e6969-d85e-42d5-913e-c7fe6fb96353" providerId="ADAL" clId="{8D2B4F8B-645F-482E-A867-56D9A41DB3EB}" dt="2023-11-15T09:42:42.001" v="1344" actId="478"/>
          <ac:spMkLst>
            <pc:docMk/>
            <pc:sldMk cId="1349099410" sldId="1215"/>
            <ac:spMk id="106" creationId="{675FD483-29CF-AF08-E3B8-17929F7ADFFC}"/>
          </ac:spMkLst>
        </pc:spChg>
        <pc:spChg chg="del">
          <ac:chgData name="Devraj, Keerthi (DI SW ICS DVT CSF DV FS)" userId="a61e6969-d85e-42d5-913e-c7fe6fb96353" providerId="ADAL" clId="{8D2B4F8B-645F-482E-A867-56D9A41DB3EB}" dt="2023-11-15T09:38:36.260" v="1075" actId="478"/>
          <ac:spMkLst>
            <pc:docMk/>
            <pc:sldMk cId="1349099410" sldId="1215"/>
            <ac:spMk id="108" creationId="{F664AF22-234D-6FC2-9976-7E92F81C0A07}"/>
          </ac:spMkLst>
        </pc:spChg>
        <pc:spChg chg="del">
          <ac:chgData name="Devraj, Keerthi (DI SW ICS DVT CSF DV FS)" userId="a61e6969-d85e-42d5-913e-c7fe6fb96353" providerId="ADAL" clId="{8D2B4F8B-645F-482E-A867-56D9A41DB3EB}" dt="2023-11-15T09:38:36.260" v="1075" actId="478"/>
          <ac:spMkLst>
            <pc:docMk/>
            <pc:sldMk cId="1349099410" sldId="1215"/>
            <ac:spMk id="109" creationId="{FC87BA30-799D-E4B3-266A-D57FD9CC89DC}"/>
          </ac:spMkLst>
        </pc:spChg>
        <pc:spChg chg="del">
          <ac:chgData name="Devraj, Keerthi (DI SW ICS DVT CSF DV FS)" userId="a61e6969-d85e-42d5-913e-c7fe6fb96353" providerId="ADAL" clId="{8D2B4F8B-645F-482E-A867-56D9A41DB3EB}" dt="2023-11-15T09:38:36.260" v="1075" actId="478"/>
          <ac:spMkLst>
            <pc:docMk/>
            <pc:sldMk cId="1349099410" sldId="1215"/>
            <ac:spMk id="154" creationId="{640F5B93-A98A-A63D-E084-F5C40FDF08C4}"/>
          </ac:spMkLst>
        </pc:spChg>
        <pc:spChg chg="del">
          <ac:chgData name="Devraj, Keerthi (DI SW ICS DVT CSF DV FS)" userId="a61e6969-d85e-42d5-913e-c7fe6fb96353" providerId="ADAL" clId="{8D2B4F8B-645F-482E-A867-56D9A41DB3EB}" dt="2023-11-15T09:38:36.260" v="1075" actId="478"/>
          <ac:spMkLst>
            <pc:docMk/>
            <pc:sldMk cId="1349099410" sldId="1215"/>
            <ac:spMk id="155" creationId="{692303D5-1730-6198-3362-C42B1E976850}"/>
          </ac:spMkLst>
        </pc:spChg>
        <pc:spChg chg="del">
          <ac:chgData name="Devraj, Keerthi (DI SW ICS DVT CSF DV FS)" userId="a61e6969-d85e-42d5-913e-c7fe6fb96353" providerId="ADAL" clId="{8D2B4F8B-645F-482E-A867-56D9A41DB3EB}" dt="2023-11-15T09:38:36.260" v="1075" actId="478"/>
          <ac:spMkLst>
            <pc:docMk/>
            <pc:sldMk cId="1349099410" sldId="1215"/>
            <ac:spMk id="171" creationId="{27DAD000-5DA6-4B61-A6BC-72AA8FEE87B5}"/>
          </ac:spMkLst>
        </pc:spChg>
        <pc:spChg chg="del">
          <ac:chgData name="Devraj, Keerthi (DI SW ICS DVT CSF DV FS)" userId="a61e6969-d85e-42d5-913e-c7fe6fb96353" providerId="ADAL" clId="{8D2B4F8B-645F-482E-A867-56D9A41DB3EB}" dt="2023-11-15T09:38:36.260" v="1075" actId="478"/>
          <ac:spMkLst>
            <pc:docMk/>
            <pc:sldMk cId="1349099410" sldId="1215"/>
            <ac:spMk id="187" creationId="{9B585404-7BFD-0D8B-71E2-E43855A4F53B}"/>
          </ac:spMkLst>
        </pc:spChg>
        <pc:spChg chg="del mod">
          <ac:chgData name="Devraj, Keerthi (DI SW ICS DVT CSF DV FS)" userId="a61e6969-d85e-42d5-913e-c7fe6fb96353" providerId="ADAL" clId="{8D2B4F8B-645F-482E-A867-56D9A41DB3EB}" dt="2023-11-15T09:38:36.260" v="1075" actId="478"/>
          <ac:spMkLst>
            <pc:docMk/>
            <pc:sldMk cId="1349099410" sldId="1215"/>
            <ac:spMk id="188" creationId="{6E724378-E134-0DFD-8892-B3D2EE67E607}"/>
          </ac:spMkLst>
        </pc:spChg>
        <pc:spChg chg="del">
          <ac:chgData name="Devraj, Keerthi (DI SW ICS DVT CSF DV FS)" userId="a61e6969-d85e-42d5-913e-c7fe6fb96353" providerId="ADAL" clId="{8D2B4F8B-645F-482E-A867-56D9A41DB3EB}" dt="2023-11-15T09:38:36.260" v="1075" actId="478"/>
          <ac:spMkLst>
            <pc:docMk/>
            <pc:sldMk cId="1349099410" sldId="1215"/>
            <ac:spMk id="189" creationId="{A5691D00-8730-755C-259D-A3CE479D9EC6}"/>
          </ac:spMkLst>
        </pc:spChg>
        <pc:spChg chg="mod">
          <ac:chgData name="Devraj, Keerthi (DI SW ICS DVT CSF DV FS)" userId="a61e6969-d85e-42d5-913e-c7fe6fb96353" providerId="ADAL" clId="{8D2B4F8B-645F-482E-A867-56D9A41DB3EB}" dt="2023-11-15T09:38:37.019" v="1076"/>
          <ac:spMkLst>
            <pc:docMk/>
            <pc:sldMk cId="1349099410" sldId="1215"/>
            <ac:spMk id="206" creationId="{F1724815-67CF-6C3E-BAA2-DA0A3D9E6587}"/>
          </ac:spMkLst>
        </pc:spChg>
        <pc:spChg chg="mod">
          <ac:chgData name="Devraj, Keerthi (DI SW ICS DVT CSF DV FS)" userId="a61e6969-d85e-42d5-913e-c7fe6fb96353" providerId="ADAL" clId="{8D2B4F8B-645F-482E-A867-56D9A41DB3EB}" dt="2023-11-15T09:38:37.019" v="1076"/>
          <ac:spMkLst>
            <pc:docMk/>
            <pc:sldMk cId="1349099410" sldId="1215"/>
            <ac:spMk id="207" creationId="{1D3AFA7E-3806-A30D-7B98-CB6E548C890B}"/>
          </ac:spMkLst>
        </pc:spChg>
        <pc:spChg chg="mod">
          <ac:chgData name="Devraj, Keerthi (DI SW ICS DVT CSF DV FS)" userId="a61e6969-d85e-42d5-913e-c7fe6fb96353" providerId="ADAL" clId="{8D2B4F8B-645F-482E-A867-56D9A41DB3EB}" dt="2023-11-15T09:38:37.019" v="1076"/>
          <ac:spMkLst>
            <pc:docMk/>
            <pc:sldMk cId="1349099410" sldId="1215"/>
            <ac:spMk id="208" creationId="{DF078338-34C5-6298-0ECE-69996BBF89C1}"/>
          </ac:spMkLst>
        </pc:spChg>
        <pc:spChg chg="mod">
          <ac:chgData name="Devraj, Keerthi (DI SW ICS DVT CSF DV FS)" userId="a61e6969-d85e-42d5-913e-c7fe6fb96353" providerId="ADAL" clId="{8D2B4F8B-645F-482E-A867-56D9A41DB3EB}" dt="2023-11-15T09:38:37.019" v="1076"/>
          <ac:spMkLst>
            <pc:docMk/>
            <pc:sldMk cId="1349099410" sldId="1215"/>
            <ac:spMk id="216" creationId="{681B9167-B1A0-2752-646A-72E5D5FB39CF}"/>
          </ac:spMkLst>
        </pc:spChg>
        <pc:spChg chg="mod">
          <ac:chgData name="Devraj, Keerthi (DI SW ICS DVT CSF DV FS)" userId="a61e6969-d85e-42d5-913e-c7fe6fb96353" providerId="ADAL" clId="{8D2B4F8B-645F-482E-A867-56D9A41DB3EB}" dt="2023-11-15T09:38:37.019" v="1076"/>
          <ac:spMkLst>
            <pc:docMk/>
            <pc:sldMk cId="1349099410" sldId="1215"/>
            <ac:spMk id="217" creationId="{722D3764-05B1-679B-91C8-637BD72E440A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38:48.239" v="1077" actId="207"/>
          <ac:spMkLst>
            <pc:docMk/>
            <pc:sldMk cId="1349099410" sldId="1215"/>
            <ac:spMk id="218" creationId="{3FFD1BD1-B4C3-1579-55A1-E47667314294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38:37.019" v="1076"/>
          <ac:spMkLst>
            <pc:docMk/>
            <pc:sldMk cId="1349099410" sldId="1215"/>
            <ac:spMk id="219" creationId="{6B78ABF2-16A3-8D00-EFDB-EE062DAD4204}"/>
          </ac:spMkLst>
        </pc:spChg>
        <pc:spChg chg="mod">
          <ac:chgData name="Devraj, Keerthi (DI SW ICS DVT CSF DV FS)" userId="a61e6969-d85e-42d5-913e-c7fe6fb96353" providerId="ADAL" clId="{8D2B4F8B-645F-482E-A867-56D9A41DB3EB}" dt="2023-11-15T09:38:37.019" v="1076"/>
          <ac:spMkLst>
            <pc:docMk/>
            <pc:sldMk cId="1349099410" sldId="1215"/>
            <ac:spMk id="221" creationId="{DFAD2732-A63F-4AEE-AC02-A56F36488CE5}"/>
          </ac:spMkLst>
        </pc:spChg>
        <pc:spChg chg="mod">
          <ac:chgData name="Devraj, Keerthi (DI SW ICS DVT CSF DV FS)" userId="a61e6969-d85e-42d5-913e-c7fe6fb96353" providerId="ADAL" clId="{8D2B4F8B-645F-482E-A867-56D9A41DB3EB}" dt="2023-11-15T09:38:37.019" v="1076"/>
          <ac:spMkLst>
            <pc:docMk/>
            <pc:sldMk cId="1349099410" sldId="1215"/>
            <ac:spMk id="223" creationId="{D69DC39E-D121-1729-063A-99AE753D209D}"/>
          </ac:spMkLst>
        </pc:spChg>
        <pc:spChg chg="mod">
          <ac:chgData name="Devraj, Keerthi (DI SW ICS DVT CSF DV FS)" userId="a61e6969-d85e-42d5-913e-c7fe6fb96353" providerId="ADAL" clId="{8D2B4F8B-645F-482E-A867-56D9A41DB3EB}" dt="2023-11-15T09:38:37.019" v="1076"/>
          <ac:spMkLst>
            <pc:docMk/>
            <pc:sldMk cId="1349099410" sldId="1215"/>
            <ac:spMk id="224" creationId="{E9A7F225-BC17-9AC3-C040-314106329E84}"/>
          </ac:spMkLst>
        </pc:spChg>
        <pc:spChg chg="mod">
          <ac:chgData name="Devraj, Keerthi (DI SW ICS DVT CSF DV FS)" userId="a61e6969-d85e-42d5-913e-c7fe6fb96353" providerId="ADAL" clId="{8D2B4F8B-645F-482E-A867-56D9A41DB3EB}" dt="2023-11-15T09:38:37.019" v="1076"/>
          <ac:spMkLst>
            <pc:docMk/>
            <pc:sldMk cId="1349099410" sldId="1215"/>
            <ac:spMk id="225" creationId="{110F5BF3-3272-7B53-9527-EB61F3D49F41}"/>
          </ac:spMkLst>
        </pc:spChg>
        <pc:spChg chg="mod">
          <ac:chgData name="Devraj, Keerthi (DI SW ICS DVT CSF DV FS)" userId="a61e6969-d85e-42d5-913e-c7fe6fb96353" providerId="ADAL" clId="{8D2B4F8B-645F-482E-A867-56D9A41DB3EB}" dt="2023-11-15T09:38:37.019" v="1076"/>
          <ac:spMkLst>
            <pc:docMk/>
            <pc:sldMk cId="1349099410" sldId="1215"/>
            <ac:spMk id="233" creationId="{59D450F4-18C9-570E-9037-7045C60F9227}"/>
          </ac:spMkLst>
        </pc:spChg>
        <pc:spChg chg="mod">
          <ac:chgData name="Devraj, Keerthi (DI SW ICS DVT CSF DV FS)" userId="a61e6969-d85e-42d5-913e-c7fe6fb96353" providerId="ADAL" clId="{8D2B4F8B-645F-482E-A867-56D9A41DB3EB}" dt="2023-11-15T09:38:37.019" v="1076"/>
          <ac:spMkLst>
            <pc:docMk/>
            <pc:sldMk cId="1349099410" sldId="1215"/>
            <ac:spMk id="234" creationId="{F25FBF20-F542-8FE0-D84E-D92B160E7677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38:37.019" v="1076"/>
          <ac:spMkLst>
            <pc:docMk/>
            <pc:sldMk cId="1349099410" sldId="1215"/>
            <ac:spMk id="235" creationId="{4DDD41EA-06A8-F651-1F3C-484D772C481C}"/>
          </ac:spMkLst>
        </pc:spChg>
        <pc:spChg chg="mod">
          <ac:chgData name="Devraj, Keerthi (DI SW ICS DVT CSF DV FS)" userId="a61e6969-d85e-42d5-913e-c7fe6fb96353" providerId="ADAL" clId="{8D2B4F8B-645F-482E-A867-56D9A41DB3EB}" dt="2023-11-15T09:38:37.019" v="1076"/>
          <ac:spMkLst>
            <pc:docMk/>
            <pc:sldMk cId="1349099410" sldId="1215"/>
            <ac:spMk id="237" creationId="{72BE8C7F-65E4-4292-0D55-D22B5A6F448F}"/>
          </ac:spMkLst>
        </pc:spChg>
        <pc:spChg chg="mod">
          <ac:chgData name="Devraj, Keerthi (DI SW ICS DVT CSF DV FS)" userId="a61e6969-d85e-42d5-913e-c7fe6fb96353" providerId="ADAL" clId="{8D2B4F8B-645F-482E-A867-56D9A41DB3EB}" dt="2023-11-15T09:38:37.019" v="1076"/>
          <ac:spMkLst>
            <pc:docMk/>
            <pc:sldMk cId="1349099410" sldId="1215"/>
            <ac:spMk id="239" creationId="{20D59CED-A841-A2D5-C3FA-948713BF4214}"/>
          </ac:spMkLst>
        </pc:spChg>
        <pc:spChg chg="mod">
          <ac:chgData name="Devraj, Keerthi (DI SW ICS DVT CSF DV FS)" userId="a61e6969-d85e-42d5-913e-c7fe6fb96353" providerId="ADAL" clId="{8D2B4F8B-645F-482E-A867-56D9A41DB3EB}" dt="2023-11-15T09:38:37.019" v="1076"/>
          <ac:spMkLst>
            <pc:docMk/>
            <pc:sldMk cId="1349099410" sldId="1215"/>
            <ac:spMk id="240" creationId="{47256C65-1DC5-479C-1903-8673D294A366}"/>
          </ac:spMkLst>
        </pc:spChg>
        <pc:spChg chg="mod">
          <ac:chgData name="Devraj, Keerthi (DI SW ICS DVT CSF DV FS)" userId="a61e6969-d85e-42d5-913e-c7fe6fb96353" providerId="ADAL" clId="{8D2B4F8B-645F-482E-A867-56D9A41DB3EB}" dt="2023-11-15T09:38:37.019" v="1076"/>
          <ac:spMkLst>
            <pc:docMk/>
            <pc:sldMk cId="1349099410" sldId="1215"/>
            <ac:spMk id="241" creationId="{5DA36172-4EB0-642A-0EB1-A4A97D85774A}"/>
          </ac:spMkLst>
        </pc:spChg>
        <pc:spChg chg="mod">
          <ac:chgData name="Devraj, Keerthi (DI SW ICS DVT CSF DV FS)" userId="a61e6969-d85e-42d5-913e-c7fe6fb96353" providerId="ADAL" clId="{8D2B4F8B-645F-482E-A867-56D9A41DB3EB}" dt="2023-11-15T09:38:37.019" v="1076"/>
          <ac:spMkLst>
            <pc:docMk/>
            <pc:sldMk cId="1349099410" sldId="1215"/>
            <ac:spMk id="249" creationId="{F26C1371-F0A8-B572-2FE0-6C20FC661ED3}"/>
          </ac:spMkLst>
        </pc:spChg>
        <pc:spChg chg="mod">
          <ac:chgData name="Devraj, Keerthi (DI SW ICS DVT CSF DV FS)" userId="a61e6969-d85e-42d5-913e-c7fe6fb96353" providerId="ADAL" clId="{8D2B4F8B-645F-482E-A867-56D9A41DB3EB}" dt="2023-11-15T09:38:37.019" v="1076"/>
          <ac:spMkLst>
            <pc:docMk/>
            <pc:sldMk cId="1349099410" sldId="1215"/>
            <ac:spMk id="250" creationId="{340C833C-33CA-17A0-C43A-AB70A3812B37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38:37.019" v="1076"/>
          <ac:spMkLst>
            <pc:docMk/>
            <pc:sldMk cId="1349099410" sldId="1215"/>
            <ac:spMk id="251" creationId="{F25E9147-E608-244A-BFF4-1AB08056D87A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38:37.019" v="1076"/>
          <ac:spMkLst>
            <pc:docMk/>
            <pc:sldMk cId="1349099410" sldId="1215"/>
            <ac:spMk id="252" creationId="{5B4D2CFF-FEC4-6E13-F720-9475924D7B8B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38:37.019" v="1076"/>
          <ac:spMkLst>
            <pc:docMk/>
            <pc:sldMk cId="1349099410" sldId="1215"/>
            <ac:spMk id="257" creationId="{CF0F89FF-654F-CD07-C2EB-E83384953A63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38:37.019" v="1076"/>
          <ac:spMkLst>
            <pc:docMk/>
            <pc:sldMk cId="1349099410" sldId="1215"/>
            <ac:spMk id="258" creationId="{262E048F-7A9E-4941-DC19-CD5C67234BBD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38:37.019" v="1076"/>
          <ac:spMkLst>
            <pc:docMk/>
            <pc:sldMk cId="1349099410" sldId="1215"/>
            <ac:spMk id="262" creationId="{DCEB260E-A9C5-12C4-8376-6CD33B434D9F}"/>
          </ac:spMkLst>
        </pc:spChg>
        <pc:spChg chg="mod">
          <ac:chgData name="Devraj, Keerthi (DI SW ICS DVT CSF DV FS)" userId="a61e6969-d85e-42d5-913e-c7fe6fb96353" providerId="ADAL" clId="{8D2B4F8B-645F-482E-A867-56D9A41DB3EB}" dt="2023-11-15T09:38:37.019" v="1076"/>
          <ac:spMkLst>
            <pc:docMk/>
            <pc:sldMk cId="1349099410" sldId="1215"/>
            <ac:spMk id="264" creationId="{96FDD543-BD56-8AD6-233C-0485003ACD59}"/>
          </ac:spMkLst>
        </pc:spChg>
        <pc:spChg chg="mod">
          <ac:chgData name="Devraj, Keerthi (DI SW ICS DVT CSF DV FS)" userId="a61e6969-d85e-42d5-913e-c7fe6fb96353" providerId="ADAL" clId="{8D2B4F8B-645F-482E-A867-56D9A41DB3EB}" dt="2023-11-15T09:38:37.019" v="1076"/>
          <ac:spMkLst>
            <pc:docMk/>
            <pc:sldMk cId="1349099410" sldId="1215"/>
            <ac:spMk id="266" creationId="{39312EEF-505A-CDE6-479E-AC643644A85D}"/>
          </ac:spMkLst>
        </pc:spChg>
        <pc:spChg chg="mod">
          <ac:chgData name="Devraj, Keerthi (DI SW ICS DVT CSF DV FS)" userId="a61e6969-d85e-42d5-913e-c7fe6fb96353" providerId="ADAL" clId="{8D2B4F8B-645F-482E-A867-56D9A41DB3EB}" dt="2023-11-15T09:38:37.019" v="1076"/>
          <ac:spMkLst>
            <pc:docMk/>
            <pc:sldMk cId="1349099410" sldId="1215"/>
            <ac:spMk id="267" creationId="{8FC38640-FC55-E3CA-B16B-8041804BDB75}"/>
          </ac:spMkLst>
        </pc:spChg>
        <pc:spChg chg="mod">
          <ac:chgData name="Devraj, Keerthi (DI SW ICS DVT CSF DV FS)" userId="a61e6969-d85e-42d5-913e-c7fe6fb96353" providerId="ADAL" clId="{8D2B4F8B-645F-482E-A867-56D9A41DB3EB}" dt="2023-11-15T09:38:37.019" v="1076"/>
          <ac:spMkLst>
            <pc:docMk/>
            <pc:sldMk cId="1349099410" sldId="1215"/>
            <ac:spMk id="268" creationId="{E1BFB541-C0E8-3661-D58B-795B93AB3D73}"/>
          </ac:spMkLst>
        </pc:spChg>
        <pc:spChg chg="mod">
          <ac:chgData name="Devraj, Keerthi (DI SW ICS DVT CSF DV FS)" userId="a61e6969-d85e-42d5-913e-c7fe6fb96353" providerId="ADAL" clId="{8D2B4F8B-645F-482E-A867-56D9A41DB3EB}" dt="2023-11-15T09:38:37.019" v="1076"/>
          <ac:spMkLst>
            <pc:docMk/>
            <pc:sldMk cId="1349099410" sldId="1215"/>
            <ac:spMk id="276" creationId="{A3E4B247-84B9-F77B-D51F-99A0C1C728CB}"/>
          </ac:spMkLst>
        </pc:spChg>
        <pc:spChg chg="mod">
          <ac:chgData name="Devraj, Keerthi (DI SW ICS DVT CSF DV FS)" userId="a61e6969-d85e-42d5-913e-c7fe6fb96353" providerId="ADAL" clId="{8D2B4F8B-645F-482E-A867-56D9A41DB3EB}" dt="2023-11-15T09:38:37.019" v="1076"/>
          <ac:spMkLst>
            <pc:docMk/>
            <pc:sldMk cId="1349099410" sldId="1215"/>
            <ac:spMk id="277" creationId="{5405B594-F8C8-C951-83AF-3826C7BBB434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42:48.951" v="1364" actId="1036"/>
          <ac:spMkLst>
            <pc:docMk/>
            <pc:sldMk cId="1349099410" sldId="1215"/>
            <ac:spMk id="278" creationId="{E01F93C0-C20D-36C8-9FFC-1C38F1AE1A7B}"/>
          </ac:spMkLst>
        </pc:spChg>
        <pc:spChg chg="add del mod">
          <ac:chgData name="Devraj, Keerthi (DI SW ICS DVT CSF DV FS)" userId="a61e6969-d85e-42d5-913e-c7fe6fb96353" providerId="ADAL" clId="{8D2B4F8B-645F-482E-A867-56D9A41DB3EB}" dt="2023-11-15T09:42:42.001" v="1344" actId="478"/>
          <ac:spMkLst>
            <pc:docMk/>
            <pc:sldMk cId="1349099410" sldId="1215"/>
            <ac:spMk id="279" creationId="{6DBE19BB-9931-D917-83DE-E33E47C5FFFD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42:42.677" v="1345"/>
          <ac:spMkLst>
            <pc:docMk/>
            <pc:sldMk cId="1349099410" sldId="1215"/>
            <ac:spMk id="280" creationId="{6087A45E-8BBF-0F4C-0E52-5D55F2FB3CC6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42:42.677" v="1345"/>
          <ac:spMkLst>
            <pc:docMk/>
            <pc:sldMk cId="1349099410" sldId="1215"/>
            <ac:spMk id="281" creationId="{B320CF03-B829-9966-BF18-D817B0EFAE06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42:42.677" v="1345"/>
          <ac:spMkLst>
            <pc:docMk/>
            <pc:sldMk cId="1349099410" sldId="1215"/>
            <ac:spMk id="282" creationId="{30F4DFEE-2E89-BDFE-2481-3E63F6182A30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42:42.677" v="1345"/>
          <ac:spMkLst>
            <pc:docMk/>
            <pc:sldMk cId="1349099410" sldId="1215"/>
            <ac:spMk id="283" creationId="{8B49CA41-4533-A3A7-868B-663B33EB466F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42:42.677" v="1345"/>
          <ac:spMkLst>
            <pc:docMk/>
            <pc:sldMk cId="1349099410" sldId="1215"/>
            <ac:spMk id="284" creationId="{6E732457-74C2-70B2-1AEE-4A94907193C7}"/>
          </ac:spMkLst>
        </pc:spChg>
        <pc:grpChg chg="add mod">
          <ac:chgData name="Devraj, Keerthi (DI SW ICS DVT CSF DV FS)" userId="a61e6969-d85e-42d5-913e-c7fe6fb96353" providerId="ADAL" clId="{8D2B4F8B-645F-482E-A867-56D9A41DB3EB}" dt="2023-11-15T09:38:37.019" v="1076"/>
          <ac:grpSpMkLst>
            <pc:docMk/>
            <pc:sldMk cId="1349099410" sldId="1215"/>
            <ac:grpSpMk id="9" creationId="{B23FFAD0-A454-7EF4-AEFA-A22A6F1E0F5A}"/>
          </ac:grpSpMkLst>
        </pc:grpChg>
        <pc:grpChg chg="add mod">
          <ac:chgData name="Devraj, Keerthi (DI SW ICS DVT CSF DV FS)" userId="a61e6969-d85e-42d5-913e-c7fe6fb96353" providerId="ADAL" clId="{8D2B4F8B-645F-482E-A867-56D9A41DB3EB}" dt="2023-11-15T09:38:37.019" v="1076"/>
          <ac:grpSpMkLst>
            <pc:docMk/>
            <pc:sldMk cId="1349099410" sldId="1215"/>
            <ac:grpSpMk id="16" creationId="{3F933D21-E817-3595-8D56-4F61948BB78D}"/>
          </ac:grpSpMkLst>
        </pc:grpChg>
        <pc:grpChg chg="add mod">
          <ac:chgData name="Devraj, Keerthi (DI SW ICS DVT CSF DV FS)" userId="a61e6969-d85e-42d5-913e-c7fe6fb96353" providerId="ADAL" clId="{8D2B4F8B-645F-482E-A867-56D9A41DB3EB}" dt="2023-11-15T09:38:37.019" v="1076"/>
          <ac:grpSpMkLst>
            <pc:docMk/>
            <pc:sldMk cId="1349099410" sldId="1215"/>
            <ac:grpSpMk id="23" creationId="{3F354681-5E62-D47D-8F5A-442D4DFF0548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38:37.019" v="1076"/>
          <ac:grpSpMkLst>
            <pc:docMk/>
            <pc:sldMk cId="1349099410" sldId="1215"/>
            <ac:grpSpMk id="25" creationId="{16D183AB-4226-D956-79B0-36C5CA83399A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38:37.019" v="1076"/>
          <ac:grpSpMkLst>
            <pc:docMk/>
            <pc:sldMk cId="1349099410" sldId="1215"/>
            <ac:grpSpMk id="99" creationId="{4A25EBCC-34B9-C743-1D07-286ECBEDE6A1}"/>
          </ac:grpSpMkLst>
        </pc:grpChg>
        <pc:grpChg chg="add mod">
          <ac:chgData name="Devraj, Keerthi (DI SW ICS DVT CSF DV FS)" userId="a61e6969-d85e-42d5-913e-c7fe6fb96353" providerId="ADAL" clId="{8D2B4F8B-645F-482E-A867-56D9A41DB3EB}" dt="2023-11-15T09:38:37.019" v="1076"/>
          <ac:grpSpMkLst>
            <pc:docMk/>
            <pc:sldMk cId="1349099410" sldId="1215"/>
            <ac:grpSpMk id="102" creationId="{3068605A-6C09-64E7-D552-F7B786A1B355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38:37.019" v="1076"/>
          <ac:grpSpMkLst>
            <pc:docMk/>
            <pc:sldMk cId="1349099410" sldId="1215"/>
            <ac:grpSpMk id="104" creationId="{A9DA3875-49CA-BD93-A7CE-DA10AE4A8B94}"/>
          </ac:grpSpMkLst>
        </pc:grpChg>
        <pc:grpChg chg="del">
          <ac:chgData name="Devraj, Keerthi (DI SW ICS DVT CSF DV FS)" userId="a61e6969-d85e-42d5-913e-c7fe6fb96353" providerId="ADAL" clId="{8D2B4F8B-645F-482E-A867-56D9A41DB3EB}" dt="2023-11-15T09:38:36.260" v="1075" actId="478"/>
          <ac:grpSpMkLst>
            <pc:docMk/>
            <pc:sldMk cId="1349099410" sldId="1215"/>
            <ac:grpSpMk id="110" creationId="{5F1F362D-C890-8957-692A-43217A46E3F5}"/>
          </ac:grpSpMkLst>
        </pc:grpChg>
        <pc:grpChg chg="del">
          <ac:chgData name="Devraj, Keerthi (DI SW ICS DVT CSF DV FS)" userId="a61e6969-d85e-42d5-913e-c7fe6fb96353" providerId="ADAL" clId="{8D2B4F8B-645F-482E-A867-56D9A41DB3EB}" dt="2023-11-15T09:38:36.260" v="1075" actId="478"/>
          <ac:grpSpMkLst>
            <pc:docMk/>
            <pc:sldMk cId="1349099410" sldId="1215"/>
            <ac:grpSpMk id="117" creationId="{BF001716-B7B3-613F-A53C-639358DA7176}"/>
          </ac:grpSpMkLst>
        </pc:grpChg>
        <pc:grpChg chg="del">
          <ac:chgData name="Devraj, Keerthi (DI SW ICS DVT CSF DV FS)" userId="a61e6969-d85e-42d5-913e-c7fe6fb96353" providerId="ADAL" clId="{8D2B4F8B-645F-482E-A867-56D9A41DB3EB}" dt="2023-11-15T09:38:36.260" v="1075" actId="478"/>
          <ac:grpSpMkLst>
            <pc:docMk/>
            <pc:sldMk cId="1349099410" sldId="1215"/>
            <ac:grpSpMk id="124" creationId="{DDE4D3B8-116A-5754-6341-53C5CDFDEAC0}"/>
          </ac:grpSpMkLst>
        </pc:grpChg>
        <pc:grpChg chg="del">
          <ac:chgData name="Devraj, Keerthi (DI SW ICS DVT CSF DV FS)" userId="a61e6969-d85e-42d5-913e-c7fe6fb96353" providerId="ADAL" clId="{8D2B4F8B-645F-482E-A867-56D9A41DB3EB}" dt="2023-11-15T09:38:36.260" v="1075" actId="478"/>
          <ac:grpSpMkLst>
            <pc:docMk/>
            <pc:sldMk cId="1349099410" sldId="1215"/>
            <ac:grpSpMk id="139" creationId="{FAA3E041-5C20-C926-BE12-14B865981AA8}"/>
          </ac:grpSpMkLst>
        </pc:grpChg>
        <pc:grpChg chg="del">
          <ac:chgData name="Devraj, Keerthi (DI SW ICS DVT CSF DV FS)" userId="a61e6969-d85e-42d5-913e-c7fe6fb96353" providerId="ADAL" clId="{8D2B4F8B-645F-482E-A867-56D9A41DB3EB}" dt="2023-11-15T09:38:36.260" v="1075" actId="478"/>
          <ac:grpSpMkLst>
            <pc:docMk/>
            <pc:sldMk cId="1349099410" sldId="1215"/>
            <ac:grpSpMk id="156" creationId="{213D39B0-BB3C-317E-7CB8-11AA17589470}"/>
          </ac:grpSpMkLst>
        </pc:grpChg>
        <pc:grpChg chg="del">
          <ac:chgData name="Devraj, Keerthi (DI SW ICS DVT CSF DV FS)" userId="a61e6969-d85e-42d5-913e-c7fe6fb96353" providerId="ADAL" clId="{8D2B4F8B-645F-482E-A867-56D9A41DB3EB}" dt="2023-11-15T09:38:36.260" v="1075" actId="478"/>
          <ac:grpSpMkLst>
            <pc:docMk/>
            <pc:sldMk cId="1349099410" sldId="1215"/>
            <ac:grpSpMk id="172" creationId="{2E85DA6A-3CFD-FD61-CE73-34CD3C569C92}"/>
          </ac:grpSpMkLst>
        </pc:grpChg>
        <pc:grpChg chg="del">
          <ac:chgData name="Devraj, Keerthi (DI SW ICS DVT CSF DV FS)" userId="a61e6969-d85e-42d5-913e-c7fe6fb96353" providerId="ADAL" clId="{8D2B4F8B-645F-482E-A867-56D9A41DB3EB}" dt="2023-11-15T09:38:36.260" v="1075" actId="478"/>
          <ac:grpSpMkLst>
            <pc:docMk/>
            <pc:sldMk cId="1349099410" sldId="1215"/>
            <ac:grpSpMk id="190" creationId="{64E08F3E-4DAE-EBF5-5DA7-9EB5784BC4F6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38:37.019" v="1076"/>
          <ac:grpSpMkLst>
            <pc:docMk/>
            <pc:sldMk cId="1349099410" sldId="1215"/>
            <ac:grpSpMk id="215" creationId="{CCDC2920-72C4-7312-8505-DED2C0B5FC0C}"/>
          </ac:grpSpMkLst>
        </pc:grpChg>
        <pc:grpChg chg="add mod">
          <ac:chgData name="Devraj, Keerthi (DI SW ICS DVT CSF DV FS)" userId="a61e6969-d85e-42d5-913e-c7fe6fb96353" providerId="ADAL" clId="{8D2B4F8B-645F-482E-A867-56D9A41DB3EB}" dt="2023-11-15T09:38:37.019" v="1076"/>
          <ac:grpSpMkLst>
            <pc:docMk/>
            <pc:sldMk cId="1349099410" sldId="1215"/>
            <ac:grpSpMk id="220" creationId="{DFBB6E91-8B04-3FEC-5125-7E2D87495138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38:37.019" v="1076"/>
          <ac:grpSpMkLst>
            <pc:docMk/>
            <pc:sldMk cId="1349099410" sldId="1215"/>
            <ac:grpSpMk id="222" creationId="{F662AE0F-8A84-5BF0-657D-D53EE84DA3C6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38:37.019" v="1076"/>
          <ac:grpSpMkLst>
            <pc:docMk/>
            <pc:sldMk cId="1349099410" sldId="1215"/>
            <ac:grpSpMk id="232" creationId="{EC16F942-1AF5-F0D9-3A31-9220F3BB63C0}"/>
          </ac:grpSpMkLst>
        </pc:grpChg>
        <pc:grpChg chg="add mod">
          <ac:chgData name="Devraj, Keerthi (DI SW ICS DVT CSF DV FS)" userId="a61e6969-d85e-42d5-913e-c7fe6fb96353" providerId="ADAL" clId="{8D2B4F8B-645F-482E-A867-56D9A41DB3EB}" dt="2023-11-15T09:38:37.019" v="1076"/>
          <ac:grpSpMkLst>
            <pc:docMk/>
            <pc:sldMk cId="1349099410" sldId="1215"/>
            <ac:grpSpMk id="236" creationId="{A37D80BD-1EA5-F3A4-A26D-E890F58F7D95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38:37.019" v="1076"/>
          <ac:grpSpMkLst>
            <pc:docMk/>
            <pc:sldMk cId="1349099410" sldId="1215"/>
            <ac:grpSpMk id="238" creationId="{2F0F6DB6-8693-2964-CB6B-7EEB25D492C2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38:37.019" v="1076"/>
          <ac:grpSpMkLst>
            <pc:docMk/>
            <pc:sldMk cId="1349099410" sldId="1215"/>
            <ac:grpSpMk id="248" creationId="{C571B326-FF9B-50D5-B19A-B5FE831F33C5}"/>
          </ac:grpSpMkLst>
        </pc:grpChg>
        <pc:grpChg chg="add mod">
          <ac:chgData name="Devraj, Keerthi (DI SW ICS DVT CSF DV FS)" userId="a61e6969-d85e-42d5-913e-c7fe6fb96353" providerId="ADAL" clId="{8D2B4F8B-645F-482E-A867-56D9A41DB3EB}" dt="2023-11-15T09:38:37.019" v="1076"/>
          <ac:grpSpMkLst>
            <pc:docMk/>
            <pc:sldMk cId="1349099410" sldId="1215"/>
            <ac:grpSpMk id="263" creationId="{C48A988A-8412-2342-DA4E-1B37AFE53610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38:37.019" v="1076"/>
          <ac:grpSpMkLst>
            <pc:docMk/>
            <pc:sldMk cId="1349099410" sldId="1215"/>
            <ac:grpSpMk id="265" creationId="{E76E1162-9C73-35B1-9498-C978B251D295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38:37.019" v="1076"/>
          <ac:grpSpMkLst>
            <pc:docMk/>
            <pc:sldMk cId="1349099410" sldId="1215"/>
            <ac:grpSpMk id="275" creationId="{C45CB02D-D530-1DEA-EF43-343AF3EED8FB}"/>
          </ac:grpSpMkLst>
        </pc:grpChg>
        <pc:cxnChg chg="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10" creationId="{3D97F239-0828-2F2E-AA71-86FB34B3E3FE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11" creationId="{B61857F1-FF68-E851-8B54-C5423074DC63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12" creationId="{4F0D9AE3-0DA5-AFE6-FBD0-AAD38466CBB2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13" creationId="{689B4904-7DE4-C803-DBC0-1ADA18571CED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14" creationId="{6F0196F7-0C6A-4CF8-9DF4-F0E36B6F3AF4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15" creationId="{402305A4-FC16-012A-C22D-52C649C5F98F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17" creationId="{CD20D9F4-331D-BB81-65BD-2E89DBBD14C1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18" creationId="{8A0EE909-1BEF-B07B-4259-2FE1A12A2FED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19" creationId="{42042647-B95F-01A3-5900-277137216F42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20" creationId="{A999EAE6-ECEA-D73F-66CA-4849C9E2C095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21" creationId="{13884D0C-00FF-D07D-86CC-EB0117BB4534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22" creationId="{C9B4DDEB-33FA-41E6-221B-32A0081C10B6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29" creationId="{AC9A8D03-F909-FE89-4776-DB83C05FBFCD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30" creationId="{6D52C273-DFDF-45D4-A82C-EFCD8AE570D5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31" creationId="{63AE4DA4-BAF2-EF3B-A858-2A40586905DC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96" creationId="{99F88BAF-50B5-475B-DC21-BD27884C92DB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97" creationId="{79E8672D-0586-F0B9-2487-564074876B49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98" creationId="{48EBC137-C3C7-0E6E-AAF0-DA1DB14D89BB}"/>
          </ac:cxnSpMkLst>
        </pc:cxnChg>
        <pc:cxnChg chg="del mod">
          <ac:chgData name="Devraj, Keerthi (DI SW ICS DVT CSF DV FS)" userId="a61e6969-d85e-42d5-913e-c7fe6fb96353" providerId="ADAL" clId="{8D2B4F8B-645F-482E-A867-56D9A41DB3EB}" dt="2023-11-15T09:38:36.260" v="1075" actId="478"/>
          <ac:cxnSpMkLst>
            <pc:docMk/>
            <pc:sldMk cId="1349099410" sldId="1215"/>
            <ac:cxnSpMk id="205" creationId="{AD7BF6A6-1B5D-D70E-F436-917A892B0ECF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209" creationId="{D24234B0-C749-D69C-0B64-C33FAB2E5371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210" creationId="{0D5A5B2A-3C0A-842E-E075-9C638BE74DB8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211" creationId="{2B134623-23E9-4635-839B-C30DE2982E5C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212" creationId="{488AB372-3553-532D-4FAA-11E73BDD7E23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213" creationId="{9E199CF5-F89D-7886-E007-A288B0EF78BC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214" creationId="{3FE2698E-1BFC-30B0-F714-238D77668A53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226" creationId="{EFFEBCCB-B055-3DC6-D07C-1B6B91FA0472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227" creationId="{9C47484A-2227-C55E-C51B-662978C39F8E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228" creationId="{5C192FE2-A191-2944-670D-98A70507E7FD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229" creationId="{A257E932-A673-1D67-3C04-5360B64471F1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230" creationId="{D3CC9584-8750-ED94-4BEE-699CAFD1FF97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231" creationId="{2597917A-2EF5-2227-E146-C2F9AB61DE1D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242" creationId="{1D546CDB-34D5-CC2C-376C-CA708B17503D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243" creationId="{FE7A04D8-007B-9999-55BC-7B5A5E689F42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244" creationId="{CC842D81-3262-4F82-8062-4B912155A8C6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245" creationId="{D3282482-DCDF-7DDE-4A85-1306B1B104E7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246" creationId="{567231BE-BC79-B0BA-61C7-9FADC09860E3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247" creationId="{E120A53A-33D9-B89E-A907-169A14715420}"/>
          </ac:cxnSpMkLst>
        </pc:cxnChg>
        <pc:cxnChg chg="add 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253" creationId="{E39E28AB-FA95-AF9E-9B12-3D106951A275}"/>
          </ac:cxnSpMkLst>
        </pc:cxnChg>
        <pc:cxnChg chg="add 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254" creationId="{D2C8FDD0-A412-E6F0-4381-010BC75C1305}"/>
          </ac:cxnSpMkLst>
        </pc:cxnChg>
        <pc:cxnChg chg="add 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255" creationId="{923F66FC-65AA-7477-CD37-5AEDCD18111E}"/>
          </ac:cxnSpMkLst>
        </pc:cxnChg>
        <pc:cxnChg chg="add 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256" creationId="{D1E3F215-894F-A0A1-48AE-10813D04A0A9}"/>
          </ac:cxnSpMkLst>
        </pc:cxnChg>
        <pc:cxnChg chg="add 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259" creationId="{9D59E053-2152-24B3-AAD5-EA8AD42E92CD}"/>
          </ac:cxnSpMkLst>
        </pc:cxnChg>
        <pc:cxnChg chg="add 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260" creationId="{591DF00E-8262-4A2C-D025-923406E4B487}"/>
          </ac:cxnSpMkLst>
        </pc:cxnChg>
        <pc:cxnChg chg="add 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261" creationId="{5DA96EE0-DDDE-5E56-5A09-55521C1C41B0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269" creationId="{2F6D5540-E77E-AF8B-DDA9-029204B6FDA5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270" creationId="{90830DA5-836D-72CB-FAA3-228DF0A40798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271" creationId="{E7EAE5E2-4033-A837-7F0C-9452110909DC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272" creationId="{3E825554-25C4-7A49-0264-F46769BADE10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273" creationId="{9C717DD4-AE97-6F19-742B-FE21B56F7791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38:37.019" v="1076"/>
          <ac:cxnSpMkLst>
            <pc:docMk/>
            <pc:sldMk cId="1349099410" sldId="1215"/>
            <ac:cxnSpMk id="274" creationId="{F285846E-5D9C-E076-4BB2-1AC66FBB4C8B}"/>
          </ac:cxnSpMkLst>
        </pc:cxnChg>
      </pc:sldChg>
      <pc:sldChg chg="add del">
        <pc:chgData name="Devraj, Keerthi (DI SW ICS DVT CSF DV FS)" userId="a61e6969-d85e-42d5-913e-c7fe6fb96353" providerId="ADAL" clId="{8D2B4F8B-645F-482E-A867-56D9A41DB3EB}" dt="2023-11-15T09:20:48.851" v="941" actId="47"/>
        <pc:sldMkLst>
          <pc:docMk/>
          <pc:sldMk cId="2960031466" sldId="1215"/>
        </pc:sldMkLst>
      </pc:sldChg>
      <pc:sldChg chg="addSp delSp modSp add del mod">
        <pc:chgData name="Devraj, Keerthi (DI SW ICS DVT CSF DV FS)" userId="a61e6969-d85e-42d5-913e-c7fe6fb96353" providerId="ADAL" clId="{8D2B4F8B-645F-482E-A867-56D9A41DB3EB}" dt="2023-11-15T09:42:51.823" v="1365" actId="47"/>
        <pc:sldMkLst>
          <pc:docMk/>
          <pc:sldMk cId="2737370151" sldId="1216"/>
        </pc:sldMkLst>
        <pc:spChg chg="mod">
          <ac:chgData name="Devraj, Keerthi (DI SW ICS DVT CSF DV FS)" userId="a61e6969-d85e-42d5-913e-c7fe6fb96353" providerId="ADAL" clId="{8D2B4F8B-645F-482E-A867-56D9A41DB3EB}" dt="2023-11-15T09:41:08.686" v="1145" actId="6549"/>
          <ac:spMkLst>
            <pc:docMk/>
            <pc:sldMk cId="2737370151" sldId="1216"/>
            <ac:spMk id="2" creationId="{30A59CE0-18CE-9447-F486-84039784745F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40:43.185" v="1128"/>
          <ac:spMkLst>
            <pc:docMk/>
            <pc:sldMk cId="2737370151" sldId="1216"/>
            <ac:spMk id="6" creationId="{631CE27D-9EF6-0A0F-04A1-30BB0070AE68}"/>
          </ac:spMkLst>
        </pc:spChg>
        <pc:spChg chg="del">
          <ac:chgData name="Devraj, Keerthi (DI SW ICS DVT CSF DV FS)" userId="a61e6969-d85e-42d5-913e-c7fe6fb96353" providerId="ADAL" clId="{8D2B4F8B-645F-482E-A867-56D9A41DB3EB}" dt="2023-11-15T09:40:34.512" v="1124" actId="478"/>
          <ac:spMkLst>
            <pc:docMk/>
            <pc:sldMk cId="2737370151" sldId="1216"/>
            <ac:spMk id="7" creationId="{A9A715A7-D13B-5CCD-ACA0-7DD111CE98F8}"/>
          </ac:spMkLst>
        </pc:spChg>
        <pc:spChg chg="del">
          <ac:chgData name="Devraj, Keerthi (DI SW ICS DVT CSF DV FS)" userId="a61e6969-d85e-42d5-913e-c7fe6fb96353" providerId="ADAL" clId="{8D2B4F8B-645F-482E-A867-56D9A41DB3EB}" dt="2023-11-15T09:40:34.512" v="1124" actId="478"/>
          <ac:spMkLst>
            <pc:docMk/>
            <pc:sldMk cId="2737370151" sldId="1216"/>
            <ac:spMk id="8" creationId="{BF998526-6EAA-9091-E407-B5B56E422878}"/>
          </ac:spMkLst>
        </pc:spChg>
        <pc:spChg chg="mod">
          <ac:chgData name="Devraj, Keerthi (DI SW ICS DVT CSF DV FS)" userId="a61e6969-d85e-42d5-913e-c7fe6fb96353" providerId="ADAL" clId="{8D2B4F8B-645F-482E-A867-56D9A41DB3EB}" dt="2023-11-15T09:42:14.614" v="1327" actId="1036"/>
          <ac:spMkLst>
            <pc:docMk/>
            <pc:sldMk cId="2737370151" sldId="1216"/>
            <ac:spMk id="105" creationId="{1721180B-B612-7175-6363-4F6F3889FBEC}"/>
          </ac:spMkLst>
        </pc:spChg>
        <pc:spChg chg="mod">
          <ac:chgData name="Devraj, Keerthi (DI SW ICS DVT CSF DV FS)" userId="a61e6969-d85e-42d5-913e-c7fe6fb96353" providerId="ADAL" clId="{8D2B4F8B-645F-482E-A867-56D9A41DB3EB}" dt="2023-11-15T09:42:14.614" v="1327" actId="1036"/>
          <ac:spMkLst>
            <pc:docMk/>
            <pc:sldMk cId="2737370151" sldId="1216"/>
            <ac:spMk id="106" creationId="{675FD483-29CF-AF08-E3B8-17929F7ADFFC}"/>
          </ac:spMkLst>
        </pc:spChg>
        <pc:spChg chg="mod">
          <ac:chgData name="Devraj, Keerthi (DI SW ICS DVT CSF DV FS)" userId="a61e6969-d85e-42d5-913e-c7fe6fb96353" providerId="ADAL" clId="{8D2B4F8B-645F-482E-A867-56D9A41DB3EB}" dt="2023-11-15T09:40:43.185" v="1128"/>
          <ac:spMkLst>
            <pc:docMk/>
            <pc:sldMk cId="2737370151" sldId="1216"/>
            <ac:spMk id="116" creationId="{3C96984C-3227-80D7-74B3-7B40F022E99A}"/>
          </ac:spMkLst>
        </pc:spChg>
        <pc:spChg chg="mod">
          <ac:chgData name="Devraj, Keerthi (DI SW ICS DVT CSF DV FS)" userId="a61e6969-d85e-42d5-913e-c7fe6fb96353" providerId="ADAL" clId="{8D2B4F8B-645F-482E-A867-56D9A41DB3EB}" dt="2023-11-15T09:40:43.185" v="1128"/>
          <ac:spMkLst>
            <pc:docMk/>
            <pc:sldMk cId="2737370151" sldId="1216"/>
            <ac:spMk id="118" creationId="{DEE6FFB6-7416-E7D8-5221-8319328BBFCC}"/>
          </ac:spMkLst>
        </pc:spChg>
        <pc:spChg chg="mod">
          <ac:chgData name="Devraj, Keerthi (DI SW ICS DVT CSF DV FS)" userId="a61e6969-d85e-42d5-913e-c7fe6fb96353" providerId="ADAL" clId="{8D2B4F8B-645F-482E-A867-56D9A41DB3EB}" dt="2023-11-15T09:40:43.185" v="1128"/>
          <ac:spMkLst>
            <pc:docMk/>
            <pc:sldMk cId="2737370151" sldId="1216"/>
            <ac:spMk id="119" creationId="{998F3469-777B-E7CE-A1C7-DA075A14E43C}"/>
          </ac:spMkLst>
        </pc:spChg>
        <pc:spChg chg="mod">
          <ac:chgData name="Devraj, Keerthi (DI SW ICS DVT CSF DV FS)" userId="a61e6969-d85e-42d5-913e-c7fe6fb96353" providerId="ADAL" clId="{8D2B4F8B-645F-482E-A867-56D9A41DB3EB}" dt="2023-11-15T09:40:43.185" v="1128"/>
          <ac:spMkLst>
            <pc:docMk/>
            <pc:sldMk cId="2737370151" sldId="1216"/>
            <ac:spMk id="120" creationId="{A34282AA-38E4-E495-6C1B-8208ED6F4C56}"/>
          </ac:spMkLst>
        </pc:spChg>
        <pc:spChg chg="mod">
          <ac:chgData name="Devraj, Keerthi (DI SW ICS DVT CSF DV FS)" userId="a61e6969-d85e-42d5-913e-c7fe6fb96353" providerId="ADAL" clId="{8D2B4F8B-645F-482E-A867-56D9A41DB3EB}" dt="2023-11-15T09:40:43.185" v="1128"/>
          <ac:spMkLst>
            <pc:docMk/>
            <pc:sldMk cId="2737370151" sldId="1216"/>
            <ac:spMk id="192" creationId="{192559A5-5F8F-5944-0144-9662BCC13637}"/>
          </ac:spMkLst>
        </pc:spChg>
        <pc:spChg chg="mod">
          <ac:chgData name="Devraj, Keerthi (DI SW ICS DVT CSF DV FS)" userId="a61e6969-d85e-42d5-913e-c7fe6fb96353" providerId="ADAL" clId="{8D2B4F8B-645F-482E-A867-56D9A41DB3EB}" dt="2023-11-15T09:40:43.185" v="1128"/>
          <ac:spMkLst>
            <pc:docMk/>
            <pc:sldMk cId="2737370151" sldId="1216"/>
            <ac:spMk id="193" creationId="{4FEB629C-DEE8-D48C-CF44-C029FCC802BD}"/>
          </ac:spMkLst>
        </pc:spChg>
        <pc:spChg chg="mod">
          <ac:chgData name="Devraj, Keerthi (DI SW ICS DVT CSF DV FS)" userId="a61e6969-d85e-42d5-913e-c7fe6fb96353" providerId="ADAL" clId="{8D2B4F8B-645F-482E-A867-56D9A41DB3EB}" dt="2023-11-15T09:40:43.185" v="1128"/>
          <ac:spMkLst>
            <pc:docMk/>
            <pc:sldMk cId="2737370151" sldId="1216"/>
            <ac:spMk id="195" creationId="{D9714E31-8AD0-EDE4-2395-57F870234C91}"/>
          </ac:spMkLst>
        </pc:spChg>
        <pc:spChg chg="mod">
          <ac:chgData name="Devraj, Keerthi (DI SW ICS DVT CSF DV FS)" userId="a61e6969-d85e-42d5-913e-c7fe6fb96353" providerId="ADAL" clId="{8D2B4F8B-645F-482E-A867-56D9A41DB3EB}" dt="2023-11-15T09:40:43.185" v="1128"/>
          <ac:spMkLst>
            <pc:docMk/>
            <pc:sldMk cId="2737370151" sldId="1216"/>
            <ac:spMk id="197" creationId="{ED773EF3-7AF0-5C04-C4C1-B112BE16F342}"/>
          </ac:spMkLst>
        </pc:spChg>
        <pc:spChg chg="mod">
          <ac:chgData name="Devraj, Keerthi (DI SW ICS DVT CSF DV FS)" userId="a61e6969-d85e-42d5-913e-c7fe6fb96353" providerId="ADAL" clId="{8D2B4F8B-645F-482E-A867-56D9A41DB3EB}" dt="2023-11-15T09:40:43.185" v="1128"/>
          <ac:spMkLst>
            <pc:docMk/>
            <pc:sldMk cId="2737370151" sldId="1216"/>
            <ac:spMk id="198" creationId="{5D791ECF-D0C0-5D58-1E38-5626BA4007F9}"/>
          </ac:spMkLst>
        </pc:spChg>
        <pc:spChg chg="mod">
          <ac:chgData name="Devraj, Keerthi (DI SW ICS DVT CSF DV FS)" userId="a61e6969-d85e-42d5-913e-c7fe6fb96353" providerId="ADAL" clId="{8D2B4F8B-645F-482E-A867-56D9A41DB3EB}" dt="2023-11-15T09:40:43.185" v="1128"/>
          <ac:spMkLst>
            <pc:docMk/>
            <pc:sldMk cId="2737370151" sldId="1216"/>
            <ac:spMk id="199" creationId="{8ACB0D4D-AF42-45BB-43C0-C0339633FA9C}"/>
          </ac:spMkLst>
        </pc:spChg>
        <pc:spChg chg="del">
          <ac:chgData name="Devraj, Keerthi (DI SW ICS DVT CSF DV FS)" userId="a61e6969-d85e-42d5-913e-c7fe6fb96353" providerId="ADAL" clId="{8D2B4F8B-645F-482E-A867-56D9A41DB3EB}" dt="2023-11-15T09:40:34.512" v="1124" actId="478"/>
          <ac:spMkLst>
            <pc:docMk/>
            <pc:sldMk cId="2737370151" sldId="1216"/>
            <ac:spMk id="219" creationId="{6B78ABF2-16A3-8D00-EFDB-EE062DAD4204}"/>
          </ac:spMkLst>
        </pc:spChg>
        <pc:spChg chg="del">
          <ac:chgData name="Devraj, Keerthi (DI SW ICS DVT CSF DV FS)" userId="a61e6969-d85e-42d5-913e-c7fe6fb96353" providerId="ADAL" clId="{8D2B4F8B-645F-482E-A867-56D9A41DB3EB}" dt="2023-11-15T09:40:42.205" v="1127" actId="478"/>
          <ac:spMkLst>
            <pc:docMk/>
            <pc:sldMk cId="2737370151" sldId="1216"/>
            <ac:spMk id="235" creationId="{4DDD41EA-06A8-F651-1F3C-484D772C481C}"/>
          </ac:spMkLst>
        </pc:spChg>
        <pc:spChg chg="del">
          <ac:chgData name="Devraj, Keerthi (DI SW ICS DVT CSF DV FS)" userId="a61e6969-d85e-42d5-913e-c7fe6fb96353" providerId="ADAL" clId="{8D2B4F8B-645F-482E-A867-56D9A41DB3EB}" dt="2023-11-15T09:40:34.512" v="1124" actId="478"/>
          <ac:spMkLst>
            <pc:docMk/>
            <pc:sldMk cId="2737370151" sldId="1216"/>
            <ac:spMk id="251" creationId="{F25E9147-E608-244A-BFF4-1AB08056D87A}"/>
          </ac:spMkLst>
        </pc:spChg>
        <pc:spChg chg="del">
          <ac:chgData name="Devraj, Keerthi (DI SW ICS DVT CSF DV FS)" userId="a61e6969-d85e-42d5-913e-c7fe6fb96353" providerId="ADAL" clId="{8D2B4F8B-645F-482E-A867-56D9A41DB3EB}" dt="2023-11-15T09:40:34.512" v="1124" actId="478"/>
          <ac:spMkLst>
            <pc:docMk/>
            <pc:sldMk cId="2737370151" sldId="1216"/>
            <ac:spMk id="252" creationId="{5B4D2CFF-FEC4-6E13-F720-9475924D7B8B}"/>
          </ac:spMkLst>
        </pc:spChg>
        <pc:spChg chg="del">
          <ac:chgData name="Devraj, Keerthi (DI SW ICS DVT CSF DV FS)" userId="a61e6969-d85e-42d5-913e-c7fe6fb96353" providerId="ADAL" clId="{8D2B4F8B-645F-482E-A867-56D9A41DB3EB}" dt="2023-11-15T09:40:34.512" v="1124" actId="478"/>
          <ac:spMkLst>
            <pc:docMk/>
            <pc:sldMk cId="2737370151" sldId="1216"/>
            <ac:spMk id="257" creationId="{CF0F89FF-654F-CD07-C2EB-E83384953A63}"/>
          </ac:spMkLst>
        </pc:spChg>
        <pc:spChg chg="del">
          <ac:chgData name="Devraj, Keerthi (DI SW ICS DVT CSF DV FS)" userId="a61e6969-d85e-42d5-913e-c7fe6fb96353" providerId="ADAL" clId="{8D2B4F8B-645F-482E-A867-56D9A41DB3EB}" dt="2023-11-15T09:40:34.512" v="1124" actId="478"/>
          <ac:spMkLst>
            <pc:docMk/>
            <pc:sldMk cId="2737370151" sldId="1216"/>
            <ac:spMk id="258" creationId="{262E048F-7A9E-4941-DC19-CD5C67234BBD}"/>
          </ac:spMkLst>
        </pc:spChg>
        <pc:spChg chg="del">
          <ac:chgData name="Devraj, Keerthi (DI SW ICS DVT CSF DV FS)" userId="a61e6969-d85e-42d5-913e-c7fe6fb96353" providerId="ADAL" clId="{8D2B4F8B-645F-482E-A867-56D9A41DB3EB}" dt="2023-11-15T09:40:36.669" v="1125" actId="478"/>
          <ac:spMkLst>
            <pc:docMk/>
            <pc:sldMk cId="2737370151" sldId="1216"/>
            <ac:spMk id="262" creationId="{DCEB260E-A9C5-12C4-8376-6CD33B434D9F}"/>
          </ac:spMkLst>
        </pc:spChg>
        <pc:spChg chg="mod">
          <ac:chgData name="Devraj, Keerthi (DI SW ICS DVT CSF DV FS)" userId="a61e6969-d85e-42d5-913e-c7fe6fb96353" providerId="ADAL" clId="{8D2B4F8B-645F-482E-A867-56D9A41DB3EB}" dt="2023-11-15T09:42:17.215" v="1334" actId="1035"/>
          <ac:spMkLst>
            <pc:docMk/>
            <pc:sldMk cId="2737370151" sldId="1216"/>
            <ac:spMk id="278" creationId="{E01F93C0-C20D-36C8-9FFC-1C38F1AE1A7B}"/>
          </ac:spMkLst>
        </pc:spChg>
        <pc:spChg chg="mod">
          <ac:chgData name="Devraj, Keerthi (DI SW ICS DVT CSF DV FS)" userId="a61e6969-d85e-42d5-913e-c7fe6fb96353" providerId="ADAL" clId="{8D2B4F8B-645F-482E-A867-56D9A41DB3EB}" dt="2023-11-15T09:42:17.215" v="1334" actId="1035"/>
          <ac:spMkLst>
            <pc:docMk/>
            <pc:sldMk cId="2737370151" sldId="1216"/>
            <ac:spMk id="279" creationId="{6DBE19BB-9931-D917-83DE-E33E47C5FFFD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40:43.185" v="1128"/>
          <ac:spMkLst>
            <pc:docMk/>
            <pc:sldMk cId="2737370151" sldId="1216"/>
            <ac:spMk id="280" creationId="{69D6847C-99D5-1D2A-A581-A6F67E13649E}"/>
          </ac:spMkLst>
        </pc:spChg>
        <pc:spChg chg="mod">
          <ac:chgData name="Devraj, Keerthi (DI SW ICS DVT CSF DV FS)" userId="a61e6969-d85e-42d5-913e-c7fe6fb96353" providerId="ADAL" clId="{8D2B4F8B-645F-482E-A867-56D9A41DB3EB}" dt="2023-11-15T09:40:43.185" v="1128"/>
          <ac:spMkLst>
            <pc:docMk/>
            <pc:sldMk cId="2737370151" sldId="1216"/>
            <ac:spMk id="289" creationId="{088BEB03-94CD-65A0-4A7A-16281FBB22F3}"/>
          </ac:spMkLst>
        </pc:spChg>
        <pc:spChg chg="mod">
          <ac:chgData name="Devraj, Keerthi (DI SW ICS DVT CSF DV FS)" userId="a61e6969-d85e-42d5-913e-c7fe6fb96353" providerId="ADAL" clId="{8D2B4F8B-645F-482E-A867-56D9A41DB3EB}" dt="2023-11-15T09:40:43.185" v="1128"/>
          <ac:spMkLst>
            <pc:docMk/>
            <pc:sldMk cId="2737370151" sldId="1216"/>
            <ac:spMk id="290" creationId="{57555BA8-B02E-537A-A418-56DE43958E7A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40:43.185" v="1128"/>
          <ac:spMkLst>
            <pc:docMk/>
            <pc:sldMk cId="2737370151" sldId="1216"/>
            <ac:spMk id="291" creationId="{267582C4-95BE-49CC-E6F8-AF49068D6CFF}"/>
          </ac:spMkLst>
        </pc:spChg>
        <pc:spChg chg="mod">
          <ac:chgData name="Devraj, Keerthi (DI SW ICS DVT CSF DV FS)" userId="a61e6969-d85e-42d5-913e-c7fe6fb96353" providerId="ADAL" clId="{8D2B4F8B-645F-482E-A867-56D9A41DB3EB}" dt="2023-11-15T09:40:43.185" v="1128"/>
          <ac:spMkLst>
            <pc:docMk/>
            <pc:sldMk cId="2737370151" sldId="1216"/>
            <ac:spMk id="293" creationId="{1855A49D-CE62-9096-24CE-8210171F7395}"/>
          </ac:spMkLst>
        </pc:spChg>
        <pc:spChg chg="mod">
          <ac:chgData name="Devraj, Keerthi (DI SW ICS DVT CSF DV FS)" userId="a61e6969-d85e-42d5-913e-c7fe6fb96353" providerId="ADAL" clId="{8D2B4F8B-645F-482E-A867-56D9A41DB3EB}" dt="2023-11-15T09:40:43.185" v="1128"/>
          <ac:spMkLst>
            <pc:docMk/>
            <pc:sldMk cId="2737370151" sldId="1216"/>
            <ac:spMk id="295" creationId="{D8D67F02-C928-8A88-83EC-6EB6990D1425}"/>
          </ac:spMkLst>
        </pc:spChg>
        <pc:spChg chg="mod">
          <ac:chgData name="Devraj, Keerthi (DI SW ICS DVT CSF DV FS)" userId="a61e6969-d85e-42d5-913e-c7fe6fb96353" providerId="ADAL" clId="{8D2B4F8B-645F-482E-A867-56D9A41DB3EB}" dt="2023-11-15T09:40:43.185" v="1128"/>
          <ac:spMkLst>
            <pc:docMk/>
            <pc:sldMk cId="2737370151" sldId="1216"/>
            <ac:spMk id="296" creationId="{329994EA-E719-8290-DA91-42823552041D}"/>
          </ac:spMkLst>
        </pc:spChg>
        <pc:spChg chg="mod">
          <ac:chgData name="Devraj, Keerthi (DI SW ICS DVT CSF DV FS)" userId="a61e6969-d85e-42d5-913e-c7fe6fb96353" providerId="ADAL" clId="{8D2B4F8B-645F-482E-A867-56D9A41DB3EB}" dt="2023-11-15T09:40:43.185" v="1128"/>
          <ac:spMkLst>
            <pc:docMk/>
            <pc:sldMk cId="2737370151" sldId="1216"/>
            <ac:spMk id="297" creationId="{5B207DC1-82DA-9A42-38CB-0C11B8ADE752}"/>
          </ac:spMkLst>
        </pc:spChg>
        <pc:spChg chg="mod">
          <ac:chgData name="Devraj, Keerthi (DI SW ICS DVT CSF DV FS)" userId="a61e6969-d85e-42d5-913e-c7fe6fb96353" providerId="ADAL" clId="{8D2B4F8B-645F-482E-A867-56D9A41DB3EB}" dt="2023-11-15T09:40:43.185" v="1128"/>
          <ac:spMkLst>
            <pc:docMk/>
            <pc:sldMk cId="2737370151" sldId="1216"/>
            <ac:spMk id="305" creationId="{E57744F4-80B2-2707-5ED5-92C14BFB3292}"/>
          </ac:spMkLst>
        </pc:spChg>
        <pc:spChg chg="mod">
          <ac:chgData name="Devraj, Keerthi (DI SW ICS DVT CSF DV FS)" userId="a61e6969-d85e-42d5-913e-c7fe6fb96353" providerId="ADAL" clId="{8D2B4F8B-645F-482E-A867-56D9A41DB3EB}" dt="2023-11-15T09:40:43.185" v="1128"/>
          <ac:spMkLst>
            <pc:docMk/>
            <pc:sldMk cId="2737370151" sldId="1216"/>
            <ac:spMk id="306" creationId="{88EF0DEF-70AD-94D3-F0A9-CD15B6268104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40:43.185" v="1128"/>
          <ac:spMkLst>
            <pc:docMk/>
            <pc:sldMk cId="2737370151" sldId="1216"/>
            <ac:spMk id="308" creationId="{C8B2C722-338E-7A6B-F16C-A50AEB5C591C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40:43.185" v="1128"/>
          <ac:spMkLst>
            <pc:docMk/>
            <pc:sldMk cId="2737370151" sldId="1216"/>
            <ac:spMk id="309" creationId="{015801CC-3206-EB65-87F0-A4B35C9C71B3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40:50.314" v="1129" actId="207"/>
          <ac:spMkLst>
            <pc:docMk/>
            <pc:sldMk cId="2737370151" sldId="1216"/>
            <ac:spMk id="313" creationId="{4ECB4C95-EB3A-830A-F5C9-0C58D332F14D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42:21.107" v="1342" actId="1035"/>
          <ac:spMkLst>
            <pc:docMk/>
            <pc:sldMk cId="2737370151" sldId="1216"/>
            <ac:spMk id="314" creationId="{22ED1608-4277-15C4-5471-425376E88C3A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42:21.107" v="1342" actId="1035"/>
          <ac:spMkLst>
            <pc:docMk/>
            <pc:sldMk cId="2737370151" sldId="1216"/>
            <ac:spMk id="315" creationId="{395BD9C3-F0D7-89D8-360E-96E1A184AD57}"/>
          </ac:spMkLst>
        </pc:spChg>
        <pc:grpChg chg="del">
          <ac:chgData name="Devraj, Keerthi (DI SW ICS DVT CSF DV FS)" userId="a61e6969-d85e-42d5-913e-c7fe6fb96353" providerId="ADAL" clId="{8D2B4F8B-645F-482E-A867-56D9A41DB3EB}" dt="2023-11-15T09:40:34.512" v="1124" actId="478"/>
          <ac:grpSpMkLst>
            <pc:docMk/>
            <pc:sldMk cId="2737370151" sldId="1216"/>
            <ac:grpSpMk id="9" creationId="{B23FFAD0-A454-7EF4-AEFA-A22A6F1E0F5A}"/>
          </ac:grpSpMkLst>
        </pc:grpChg>
        <pc:grpChg chg="del">
          <ac:chgData name="Devraj, Keerthi (DI SW ICS DVT CSF DV FS)" userId="a61e6969-d85e-42d5-913e-c7fe6fb96353" providerId="ADAL" clId="{8D2B4F8B-645F-482E-A867-56D9A41DB3EB}" dt="2023-11-15T09:40:34.512" v="1124" actId="478"/>
          <ac:grpSpMkLst>
            <pc:docMk/>
            <pc:sldMk cId="2737370151" sldId="1216"/>
            <ac:grpSpMk id="16" creationId="{3F933D21-E817-3595-8D56-4F61948BB78D}"/>
          </ac:grpSpMkLst>
        </pc:grpChg>
        <pc:grpChg chg="del">
          <ac:chgData name="Devraj, Keerthi (DI SW ICS DVT CSF DV FS)" userId="a61e6969-d85e-42d5-913e-c7fe6fb96353" providerId="ADAL" clId="{8D2B4F8B-645F-482E-A867-56D9A41DB3EB}" dt="2023-11-15T09:40:34.512" v="1124" actId="478"/>
          <ac:grpSpMkLst>
            <pc:docMk/>
            <pc:sldMk cId="2737370151" sldId="1216"/>
            <ac:grpSpMk id="23" creationId="{3F354681-5E62-D47D-8F5A-442D4DFF0548}"/>
          </ac:grpSpMkLst>
        </pc:grpChg>
        <pc:grpChg chg="del">
          <ac:chgData name="Devraj, Keerthi (DI SW ICS DVT CSF DV FS)" userId="a61e6969-d85e-42d5-913e-c7fe6fb96353" providerId="ADAL" clId="{8D2B4F8B-645F-482E-A867-56D9A41DB3EB}" dt="2023-11-15T09:40:34.512" v="1124" actId="478"/>
          <ac:grpSpMkLst>
            <pc:docMk/>
            <pc:sldMk cId="2737370151" sldId="1216"/>
            <ac:grpSpMk id="102" creationId="{3068605A-6C09-64E7-D552-F7B786A1B355}"/>
          </ac:grpSpMkLst>
        </pc:grpChg>
        <pc:grpChg chg="add mod">
          <ac:chgData name="Devraj, Keerthi (DI SW ICS DVT CSF DV FS)" userId="a61e6969-d85e-42d5-913e-c7fe6fb96353" providerId="ADAL" clId="{8D2B4F8B-645F-482E-A867-56D9A41DB3EB}" dt="2023-11-15T09:40:43.185" v="1128"/>
          <ac:grpSpMkLst>
            <pc:docMk/>
            <pc:sldMk cId="2737370151" sldId="1216"/>
            <ac:grpSpMk id="108" creationId="{A28DA032-42F1-1800-8736-8C86F893E48A}"/>
          </ac:grpSpMkLst>
        </pc:grpChg>
        <pc:grpChg chg="add mod">
          <ac:chgData name="Devraj, Keerthi (DI SW ICS DVT CSF DV FS)" userId="a61e6969-d85e-42d5-913e-c7fe6fb96353" providerId="ADAL" clId="{8D2B4F8B-645F-482E-A867-56D9A41DB3EB}" dt="2023-11-15T09:40:43.185" v="1128"/>
          <ac:grpSpMkLst>
            <pc:docMk/>
            <pc:sldMk cId="2737370151" sldId="1216"/>
            <ac:grpSpMk id="115" creationId="{51069994-D45F-5A1A-64EB-C9A8075B6617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40:43.185" v="1128"/>
          <ac:grpSpMkLst>
            <pc:docMk/>
            <pc:sldMk cId="2737370151" sldId="1216"/>
            <ac:grpSpMk id="117" creationId="{33BAA209-1504-CA56-0CD8-C9475041AE3B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40:43.185" v="1128"/>
          <ac:grpSpMkLst>
            <pc:docMk/>
            <pc:sldMk cId="2737370151" sldId="1216"/>
            <ac:grpSpMk id="127" creationId="{DF50B1A4-54E3-D257-449E-6F69C929E264}"/>
          </ac:grpSpMkLst>
        </pc:grpChg>
        <pc:grpChg chg="add mod">
          <ac:chgData name="Devraj, Keerthi (DI SW ICS DVT CSF DV FS)" userId="a61e6969-d85e-42d5-913e-c7fe6fb96353" providerId="ADAL" clId="{8D2B4F8B-645F-482E-A867-56D9A41DB3EB}" dt="2023-11-15T09:40:43.185" v="1128"/>
          <ac:grpSpMkLst>
            <pc:docMk/>
            <pc:sldMk cId="2737370151" sldId="1216"/>
            <ac:grpSpMk id="194" creationId="{24A68B8E-D617-EED4-5CE4-EAE083BF851A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40:43.185" v="1128"/>
          <ac:grpSpMkLst>
            <pc:docMk/>
            <pc:sldMk cId="2737370151" sldId="1216"/>
            <ac:grpSpMk id="196" creationId="{B1ECD909-F8EE-21DD-FA40-AF28D1584C96}"/>
          </ac:grpSpMkLst>
        </pc:grpChg>
        <pc:grpChg chg="del">
          <ac:chgData name="Devraj, Keerthi (DI SW ICS DVT CSF DV FS)" userId="a61e6969-d85e-42d5-913e-c7fe6fb96353" providerId="ADAL" clId="{8D2B4F8B-645F-482E-A867-56D9A41DB3EB}" dt="2023-11-15T09:40:34.512" v="1124" actId="478"/>
          <ac:grpSpMkLst>
            <pc:docMk/>
            <pc:sldMk cId="2737370151" sldId="1216"/>
            <ac:grpSpMk id="220" creationId="{DFBB6E91-8B04-3FEC-5125-7E2D87495138}"/>
          </ac:grpSpMkLst>
        </pc:grpChg>
        <pc:grpChg chg="del">
          <ac:chgData name="Devraj, Keerthi (DI SW ICS DVT CSF DV FS)" userId="a61e6969-d85e-42d5-913e-c7fe6fb96353" providerId="ADAL" clId="{8D2B4F8B-645F-482E-A867-56D9A41DB3EB}" dt="2023-11-15T09:40:42.205" v="1127" actId="478"/>
          <ac:grpSpMkLst>
            <pc:docMk/>
            <pc:sldMk cId="2737370151" sldId="1216"/>
            <ac:grpSpMk id="236" creationId="{A37D80BD-1EA5-F3A4-A26D-E890F58F7D95}"/>
          </ac:grpSpMkLst>
        </pc:grpChg>
        <pc:grpChg chg="del">
          <ac:chgData name="Devraj, Keerthi (DI SW ICS DVT CSF DV FS)" userId="a61e6969-d85e-42d5-913e-c7fe6fb96353" providerId="ADAL" clId="{8D2B4F8B-645F-482E-A867-56D9A41DB3EB}" dt="2023-11-15T09:40:39.873" v="1126" actId="478"/>
          <ac:grpSpMkLst>
            <pc:docMk/>
            <pc:sldMk cId="2737370151" sldId="1216"/>
            <ac:grpSpMk id="263" creationId="{C48A988A-8412-2342-DA4E-1B37AFE53610}"/>
          </ac:grpSpMkLst>
        </pc:grpChg>
        <pc:grpChg chg="add mod">
          <ac:chgData name="Devraj, Keerthi (DI SW ICS DVT CSF DV FS)" userId="a61e6969-d85e-42d5-913e-c7fe6fb96353" providerId="ADAL" clId="{8D2B4F8B-645F-482E-A867-56D9A41DB3EB}" dt="2023-11-15T09:40:43.185" v="1128"/>
          <ac:grpSpMkLst>
            <pc:docMk/>
            <pc:sldMk cId="2737370151" sldId="1216"/>
            <ac:grpSpMk id="281" creationId="{E3EFF5F0-0EFE-A699-6599-552DCAC4384A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40:43.185" v="1128"/>
          <ac:grpSpMkLst>
            <pc:docMk/>
            <pc:sldMk cId="2737370151" sldId="1216"/>
            <ac:grpSpMk id="288" creationId="{2F439AFB-9A50-F36D-CB33-E016C17ED6C9}"/>
          </ac:grpSpMkLst>
        </pc:grpChg>
        <pc:grpChg chg="add mod">
          <ac:chgData name="Devraj, Keerthi (DI SW ICS DVT CSF DV FS)" userId="a61e6969-d85e-42d5-913e-c7fe6fb96353" providerId="ADAL" clId="{8D2B4F8B-645F-482E-A867-56D9A41DB3EB}" dt="2023-11-15T09:40:43.185" v="1128"/>
          <ac:grpSpMkLst>
            <pc:docMk/>
            <pc:sldMk cId="2737370151" sldId="1216"/>
            <ac:grpSpMk id="292" creationId="{E67B4D6F-19D1-0F51-247A-A2F4769F3ED9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40:43.185" v="1128"/>
          <ac:grpSpMkLst>
            <pc:docMk/>
            <pc:sldMk cId="2737370151" sldId="1216"/>
            <ac:grpSpMk id="294" creationId="{AC779293-37CA-F9AE-0707-9C1C8EA5AA67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40:43.185" v="1128"/>
          <ac:grpSpMkLst>
            <pc:docMk/>
            <pc:sldMk cId="2737370151" sldId="1216"/>
            <ac:grpSpMk id="304" creationId="{4534CEB6-16B4-9253-2946-628043E62FA8}"/>
          </ac:grpSpMkLst>
        </pc:grpChg>
        <pc:cxnChg chg="mod">
          <ac:chgData name="Devraj, Keerthi (DI SW ICS DVT CSF DV FS)" userId="a61e6969-d85e-42d5-913e-c7fe6fb96353" providerId="ADAL" clId="{8D2B4F8B-645F-482E-A867-56D9A41DB3EB}" dt="2023-11-15T09:40:43.185" v="1128"/>
          <ac:cxnSpMkLst>
            <pc:docMk/>
            <pc:sldMk cId="2737370151" sldId="1216"/>
            <ac:cxnSpMk id="109" creationId="{5B6F2065-DD85-DB25-EDE2-4F8AC34FA919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0:43.185" v="1128"/>
          <ac:cxnSpMkLst>
            <pc:docMk/>
            <pc:sldMk cId="2737370151" sldId="1216"/>
            <ac:cxnSpMk id="110" creationId="{A095B9EF-B6A9-21FB-93AE-303DB9801CE2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0:43.185" v="1128"/>
          <ac:cxnSpMkLst>
            <pc:docMk/>
            <pc:sldMk cId="2737370151" sldId="1216"/>
            <ac:cxnSpMk id="111" creationId="{A87CEE96-D6E4-9F7A-C137-63D0890504C9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0:43.185" v="1128"/>
          <ac:cxnSpMkLst>
            <pc:docMk/>
            <pc:sldMk cId="2737370151" sldId="1216"/>
            <ac:cxnSpMk id="112" creationId="{D32C22B5-8B2E-9610-A9AA-550ECC749801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0:43.185" v="1128"/>
          <ac:cxnSpMkLst>
            <pc:docMk/>
            <pc:sldMk cId="2737370151" sldId="1216"/>
            <ac:cxnSpMk id="113" creationId="{A984E591-41A7-B480-3214-D81CF87BB7BB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0:43.185" v="1128"/>
          <ac:cxnSpMkLst>
            <pc:docMk/>
            <pc:sldMk cId="2737370151" sldId="1216"/>
            <ac:cxnSpMk id="114" creationId="{93040D44-5312-A5B1-43C2-AE9DB87B6CFB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0:43.185" v="1128"/>
          <ac:cxnSpMkLst>
            <pc:docMk/>
            <pc:sldMk cId="2737370151" sldId="1216"/>
            <ac:cxnSpMk id="121" creationId="{F9554B79-368F-3AA0-DC5A-F4FFF97AB861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0:43.185" v="1128"/>
          <ac:cxnSpMkLst>
            <pc:docMk/>
            <pc:sldMk cId="2737370151" sldId="1216"/>
            <ac:cxnSpMk id="122" creationId="{1ECC2716-228B-2D2B-A1AF-FA64C9A31FD0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0:43.185" v="1128"/>
          <ac:cxnSpMkLst>
            <pc:docMk/>
            <pc:sldMk cId="2737370151" sldId="1216"/>
            <ac:cxnSpMk id="123" creationId="{E69DB10B-F0A0-DCE6-70DE-4D3F44F999F3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0:43.185" v="1128"/>
          <ac:cxnSpMkLst>
            <pc:docMk/>
            <pc:sldMk cId="2737370151" sldId="1216"/>
            <ac:cxnSpMk id="124" creationId="{550E8F9F-A466-2515-8FDC-3733B08C0EA5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0:43.185" v="1128"/>
          <ac:cxnSpMkLst>
            <pc:docMk/>
            <pc:sldMk cId="2737370151" sldId="1216"/>
            <ac:cxnSpMk id="125" creationId="{DA568CEC-1554-9C68-4A60-AE60D1156133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0:43.185" v="1128"/>
          <ac:cxnSpMkLst>
            <pc:docMk/>
            <pc:sldMk cId="2737370151" sldId="1216"/>
            <ac:cxnSpMk id="126" creationId="{B0B6DB2E-B9FC-5E0A-AE76-7DD68CF85525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0:43.185" v="1128"/>
          <ac:cxnSpMkLst>
            <pc:docMk/>
            <pc:sldMk cId="2737370151" sldId="1216"/>
            <ac:cxnSpMk id="200" creationId="{AF810FD1-5874-CC94-4915-D5437394C21E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0:43.185" v="1128"/>
          <ac:cxnSpMkLst>
            <pc:docMk/>
            <pc:sldMk cId="2737370151" sldId="1216"/>
            <ac:cxnSpMk id="201" creationId="{0DF21174-6A43-0783-63B5-8B94DA53B8E3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0:43.185" v="1128"/>
          <ac:cxnSpMkLst>
            <pc:docMk/>
            <pc:sldMk cId="2737370151" sldId="1216"/>
            <ac:cxnSpMk id="202" creationId="{374DAC36-9021-8E1F-7CD6-95AD54B04462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0:43.185" v="1128"/>
          <ac:cxnSpMkLst>
            <pc:docMk/>
            <pc:sldMk cId="2737370151" sldId="1216"/>
            <ac:cxnSpMk id="203" creationId="{D4763F4E-1BFB-6DF6-58B3-E3CCF6D9883E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0:43.185" v="1128"/>
          <ac:cxnSpMkLst>
            <pc:docMk/>
            <pc:sldMk cId="2737370151" sldId="1216"/>
            <ac:cxnSpMk id="204" creationId="{4BA697C1-9308-506B-4C62-327622B63B72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0:43.185" v="1128"/>
          <ac:cxnSpMkLst>
            <pc:docMk/>
            <pc:sldMk cId="2737370151" sldId="1216"/>
            <ac:cxnSpMk id="205" creationId="{B0AD0868-7ACE-E3D6-B54C-4D5AEB38C43C}"/>
          </ac:cxnSpMkLst>
        </pc:cxnChg>
        <pc:cxnChg chg="del mod">
          <ac:chgData name="Devraj, Keerthi (DI SW ICS DVT CSF DV FS)" userId="a61e6969-d85e-42d5-913e-c7fe6fb96353" providerId="ADAL" clId="{8D2B4F8B-645F-482E-A867-56D9A41DB3EB}" dt="2023-11-15T09:40:34.512" v="1124" actId="478"/>
          <ac:cxnSpMkLst>
            <pc:docMk/>
            <pc:sldMk cId="2737370151" sldId="1216"/>
            <ac:cxnSpMk id="253" creationId="{E39E28AB-FA95-AF9E-9B12-3D106951A275}"/>
          </ac:cxnSpMkLst>
        </pc:cxnChg>
        <pc:cxnChg chg="del mod">
          <ac:chgData name="Devraj, Keerthi (DI SW ICS DVT CSF DV FS)" userId="a61e6969-d85e-42d5-913e-c7fe6fb96353" providerId="ADAL" clId="{8D2B4F8B-645F-482E-A867-56D9A41DB3EB}" dt="2023-11-15T09:40:34.512" v="1124" actId="478"/>
          <ac:cxnSpMkLst>
            <pc:docMk/>
            <pc:sldMk cId="2737370151" sldId="1216"/>
            <ac:cxnSpMk id="254" creationId="{D2C8FDD0-A412-E6F0-4381-010BC75C1305}"/>
          </ac:cxnSpMkLst>
        </pc:cxnChg>
        <pc:cxnChg chg="del mod">
          <ac:chgData name="Devraj, Keerthi (DI SW ICS DVT CSF DV FS)" userId="a61e6969-d85e-42d5-913e-c7fe6fb96353" providerId="ADAL" clId="{8D2B4F8B-645F-482E-A867-56D9A41DB3EB}" dt="2023-11-15T09:40:34.512" v="1124" actId="478"/>
          <ac:cxnSpMkLst>
            <pc:docMk/>
            <pc:sldMk cId="2737370151" sldId="1216"/>
            <ac:cxnSpMk id="255" creationId="{923F66FC-65AA-7477-CD37-5AEDCD18111E}"/>
          </ac:cxnSpMkLst>
        </pc:cxnChg>
        <pc:cxnChg chg="del mod">
          <ac:chgData name="Devraj, Keerthi (DI SW ICS DVT CSF DV FS)" userId="a61e6969-d85e-42d5-913e-c7fe6fb96353" providerId="ADAL" clId="{8D2B4F8B-645F-482E-A867-56D9A41DB3EB}" dt="2023-11-15T09:40:34.512" v="1124" actId="478"/>
          <ac:cxnSpMkLst>
            <pc:docMk/>
            <pc:sldMk cId="2737370151" sldId="1216"/>
            <ac:cxnSpMk id="256" creationId="{D1E3F215-894F-A0A1-48AE-10813D04A0A9}"/>
          </ac:cxnSpMkLst>
        </pc:cxnChg>
        <pc:cxnChg chg="del mod">
          <ac:chgData name="Devraj, Keerthi (DI SW ICS DVT CSF DV FS)" userId="a61e6969-d85e-42d5-913e-c7fe6fb96353" providerId="ADAL" clId="{8D2B4F8B-645F-482E-A867-56D9A41DB3EB}" dt="2023-11-15T09:40:34.512" v="1124" actId="478"/>
          <ac:cxnSpMkLst>
            <pc:docMk/>
            <pc:sldMk cId="2737370151" sldId="1216"/>
            <ac:cxnSpMk id="259" creationId="{9D59E053-2152-24B3-AAD5-EA8AD42E92CD}"/>
          </ac:cxnSpMkLst>
        </pc:cxnChg>
        <pc:cxnChg chg="del mod">
          <ac:chgData name="Devraj, Keerthi (DI SW ICS DVT CSF DV FS)" userId="a61e6969-d85e-42d5-913e-c7fe6fb96353" providerId="ADAL" clId="{8D2B4F8B-645F-482E-A867-56D9A41DB3EB}" dt="2023-11-15T09:40:34.512" v="1124" actId="478"/>
          <ac:cxnSpMkLst>
            <pc:docMk/>
            <pc:sldMk cId="2737370151" sldId="1216"/>
            <ac:cxnSpMk id="260" creationId="{591DF00E-8262-4A2C-D025-923406E4B487}"/>
          </ac:cxnSpMkLst>
        </pc:cxnChg>
        <pc:cxnChg chg="del mod">
          <ac:chgData name="Devraj, Keerthi (DI SW ICS DVT CSF DV FS)" userId="a61e6969-d85e-42d5-913e-c7fe6fb96353" providerId="ADAL" clId="{8D2B4F8B-645F-482E-A867-56D9A41DB3EB}" dt="2023-11-15T09:40:34.512" v="1124" actId="478"/>
          <ac:cxnSpMkLst>
            <pc:docMk/>
            <pc:sldMk cId="2737370151" sldId="1216"/>
            <ac:cxnSpMk id="261" creationId="{5DA96EE0-DDDE-5E56-5A09-55521C1C41B0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0:43.185" v="1128"/>
          <ac:cxnSpMkLst>
            <pc:docMk/>
            <pc:sldMk cId="2737370151" sldId="1216"/>
            <ac:cxnSpMk id="282" creationId="{0197E3DC-FE7A-5853-FAF9-FA3B14E70E53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0:43.185" v="1128"/>
          <ac:cxnSpMkLst>
            <pc:docMk/>
            <pc:sldMk cId="2737370151" sldId="1216"/>
            <ac:cxnSpMk id="283" creationId="{6E186FC6-E2A5-3122-1069-A419DDF565B4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0:43.185" v="1128"/>
          <ac:cxnSpMkLst>
            <pc:docMk/>
            <pc:sldMk cId="2737370151" sldId="1216"/>
            <ac:cxnSpMk id="284" creationId="{42A4CBB1-3D61-5288-D203-E2625197DCF6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0:43.185" v="1128"/>
          <ac:cxnSpMkLst>
            <pc:docMk/>
            <pc:sldMk cId="2737370151" sldId="1216"/>
            <ac:cxnSpMk id="285" creationId="{AA02F8F2-4C9A-C4C7-9599-E0651ABBCC21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0:43.185" v="1128"/>
          <ac:cxnSpMkLst>
            <pc:docMk/>
            <pc:sldMk cId="2737370151" sldId="1216"/>
            <ac:cxnSpMk id="286" creationId="{00960935-1474-B480-D1FD-D16292754697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0:43.185" v="1128"/>
          <ac:cxnSpMkLst>
            <pc:docMk/>
            <pc:sldMk cId="2737370151" sldId="1216"/>
            <ac:cxnSpMk id="287" creationId="{C99F1B19-99F1-B4DD-F636-3E749954F3CE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0:43.185" v="1128"/>
          <ac:cxnSpMkLst>
            <pc:docMk/>
            <pc:sldMk cId="2737370151" sldId="1216"/>
            <ac:cxnSpMk id="298" creationId="{66799D9C-0B39-750B-340C-409D83B4B1BC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0:43.185" v="1128"/>
          <ac:cxnSpMkLst>
            <pc:docMk/>
            <pc:sldMk cId="2737370151" sldId="1216"/>
            <ac:cxnSpMk id="299" creationId="{B3943107-4045-FCF9-420A-85E644864303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0:43.185" v="1128"/>
          <ac:cxnSpMkLst>
            <pc:docMk/>
            <pc:sldMk cId="2737370151" sldId="1216"/>
            <ac:cxnSpMk id="300" creationId="{D0E9BA8B-D428-DE1D-8FD7-BF5269FF10D0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0:43.185" v="1128"/>
          <ac:cxnSpMkLst>
            <pc:docMk/>
            <pc:sldMk cId="2737370151" sldId="1216"/>
            <ac:cxnSpMk id="301" creationId="{166FA360-4891-3A90-9E8A-F852F75D2BB6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0:43.185" v="1128"/>
          <ac:cxnSpMkLst>
            <pc:docMk/>
            <pc:sldMk cId="2737370151" sldId="1216"/>
            <ac:cxnSpMk id="302" creationId="{DD22AA12-4209-3D20-3E03-5D957D0BD9F5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0:43.185" v="1128"/>
          <ac:cxnSpMkLst>
            <pc:docMk/>
            <pc:sldMk cId="2737370151" sldId="1216"/>
            <ac:cxnSpMk id="303" creationId="{B51F6C11-2E9D-DBA4-9DD4-DCF7EE088EAF}"/>
          </ac:cxnSpMkLst>
        </pc:cxnChg>
        <pc:cxnChg chg="add mod">
          <ac:chgData name="Devraj, Keerthi (DI SW ICS DVT CSF DV FS)" userId="a61e6969-d85e-42d5-913e-c7fe6fb96353" providerId="ADAL" clId="{8D2B4F8B-645F-482E-A867-56D9A41DB3EB}" dt="2023-11-15T09:40:43.185" v="1128"/>
          <ac:cxnSpMkLst>
            <pc:docMk/>
            <pc:sldMk cId="2737370151" sldId="1216"/>
            <ac:cxnSpMk id="307" creationId="{3B03083B-0C24-7FA3-D9C2-1C4A5D7B9B59}"/>
          </ac:cxnSpMkLst>
        </pc:cxnChg>
        <pc:cxnChg chg="add mod">
          <ac:chgData name="Devraj, Keerthi (DI SW ICS DVT CSF DV FS)" userId="a61e6969-d85e-42d5-913e-c7fe6fb96353" providerId="ADAL" clId="{8D2B4F8B-645F-482E-A867-56D9A41DB3EB}" dt="2023-11-15T09:40:43.185" v="1128"/>
          <ac:cxnSpMkLst>
            <pc:docMk/>
            <pc:sldMk cId="2737370151" sldId="1216"/>
            <ac:cxnSpMk id="310" creationId="{A095B319-8C97-065F-5467-0B4AA74E186E}"/>
          </ac:cxnSpMkLst>
        </pc:cxnChg>
        <pc:cxnChg chg="add mod">
          <ac:chgData name="Devraj, Keerthi (DI SW ICS DVT CSF DV FS)" userId="a61e6969-d85e-42d5-913e-c7fe6fb96353" providerId="ADAL" clId="{8D2B4F8B-645F-482E-A867-56D9A41DB3EB}" dt="2023-11-15T09:40:43.185" v="1128"/>
          <ac:cxnSpMkLst>
            <pc:docMk/>
            <pc:sldMk cId="2737370151" sldId="1216"/>
            <ac:cxnSpMk id="311" creationId="{B484CE68-2814-D506-43A4-A04F5D210ECA}"/>
          </ac:cxnSpMkLst>
        </pc:cxnChg>
        <pc:cxnChg chg="add mod">
          <ac:chgData name="Devraj, Keerthi (DI SW ICS DVT CSF DV FS)" userId="a61e6969-d85e-42d5-913e-c7fe6fb96353" providerId="ADAL" clId="{8D2B4F8B-645F-482E-A867-56D9A41DB3EB}" dt="2023-11-15T09:40:43.185" v="1128"/>
          <ac:cxnSpMkLst>
            <pc:docMk/>
            <pc:sldMk cId="2737370151" sldId="1216"/>
            <ac:cxnSpMk id="312" creationId="{307F0B1C-F3A8-E7BB-F440-3C5588C1AF2F}"/>
          </ac:cxnSpMkLst>
        </pc:cxnChg>
      </pc:sldChg>
      <pc:sldChg chg="add del">
        <pc:chgData name="Devraj, Keerthi (DI SW ICS DVT CSF DV FS)" userId="a61e6969-d85e-42d5-913e-c7fe6fb96353" providerId="ADAL" clId="{8D2B4F8B-645F-482E-A867-56D9A41DB3EB}" dt="2023-11-15T09:20:52.310" v="943" actId="47"/>
        <pc:sldMkLst>
          <pc:docMk/>
          <pc:sldMk cId="2998888196" sldId="1216"/>
        </pc:sldMkLst>
      </pc:sldChg>
      <pc:sldChg chg="addSp modSp add">
        <pc:chgData name="Devraj, Keerthi (DI SW ICS DVT CSF DV FS)" userId="a61e6969-d85e-42d5-913e-c7fe6fb96353" providerId="ADAL" clId="{8D2B4F8B-645F-482E-A867-56D9A41DB3EB}" dt="2023-11-15T09:43:27.424" v="1370"/>
        <pc:sldMkLst>
          <pc:docMk/>
          <pc:sldMk cId="1286574319" sldId="1217"/>
        </pc:sldMkLst>
        <pc:spChg chg="add mod">
          <ac:chgData name="Devraj, Keerthi (DI SW ICS DVT CSF DV FS)" userId="a61e6969-d85e-42d5-913e-c7fe6fb96353" providerId="ADAL" clId="{8D2B4F8B-645F-482E-A867-56D9A41DB3EB}" dt="2023-11-15T09:43:27.424" v="1370"/>
          <ac:spMkLst>
            <pc:docMk/>
            <pc:sldMk cId="1286574319" sldId="1217"/>
            <ac:spMk id="7" creationId="{D2ACC8B9-7855-8EF8-6A79-86982525E850}"/>
          </ac:spMkLst>
        </pc:spChg>
        <pc:spChg chg="mod">
          <ac:chgData name="Devraj, Keerthi (DI SW ICS DVT CSF DV FS)" userId="a61e6969-d85e-42d5-913e-c7fe6fb96353" providerId="ADAL" clId="{8D2B4F8B-645F-482E-A867-56D9A41DB3EB}" dt="2023-11-15T09:43:27.424" v="1370"/>
          <ac:spMkLst>
            <pc:docMk/>
            <pc:sldMk cId="1286574319" sldId="1217"/>
            <ac:spMk id="9" creationId="{D6803D60-A5F7-B3D4-C481-C5203199579C}"/>
          </ac:spMkLst>
        </pc:spChg>
        <pc:spChg chg="mod">
          <ac:chgData name="Devraj, Keerthi (DI SW ICS DVT CSF DV FS)" userId="a61e6969-d85e-42d5-913e-c7fe6fb96353" providerId="ADAL" clId="{8D2B4F8B-645F-482E-A867-56D9A41DB3EB}" dt="2023-11-15T09:43:27.424" v="1370"/>
          <ac:spMkLst>
            <pc:docMk/>
            <pc:sldMk cId="1286574319" sldId="1217"/>
            <ac:spMk id="11" creationId="{24476D41-CF41-8822-289C-B2E49A460867}"/>
          </ac:spMkLst>
        </pc:spChg>
        <pc:spChg chg="mod">
          <ac:chgData name="Devraj, Keerthi (DI SW ICS DVT CSF DV FS)" userId="a61e6969-d85e-42d5-913e-c7fe6fb96353" providerId="ADAL" clId="{8D2B4F8B-645F-482E-A867-56D9A41DB3EB}" dt="2023-11-15T09:43:27.424" v="1370"/>
          <ac:spMkLst>
            <pc:docMk/>
            <pc:sldMk cId="1286574319" sldId="1217"/>
            <ac:spMk id="12" creationId="{8BAB6716-5164-871B-AFAC-BFAFDC4CD409}"/>
          </ac:spMkLst>
        </pc:spChg>
        <pc:spChg chg="mod">
          <ac:chgData name="Devraj, Keerthi (DI SW ICS DVT CSF DV FS)" userId="a61e6969-d85e-42d5-913e-c7fe6fb96353" providerId="ADAL" clId="{8D2B4F8B-645F-482E-A867-56D9A41DB3EB}" dt="2023-11-15T09:43:27.424" v="1370"/>
          <ac:spMkLst>
            <pc:docMk/>
            <pc:sldMk cId="1286574319" sldId="1217"/>
            <ac:spMk id="13" creationId="{0C434CAC-218B-6D7C-8250-C716C0D8CD01}"/>
          </ac:spMkLst>
        </pc:spChg>
        <pc:spChg chg="mod">
          <ac:chgData name="Devraj, Keerthi (DI SW ICS DVT CSF DV FS)" userId="a61e6969-d85e-42d5-913e-c7fe6fb96353" providerId="ADAL" clId="{8D2B4F8B-645F-482E-A867-56D9A41DB3EB}" dt="2023-11-15T09:43:27.424" v="1370"/>
          <ac:spMkLst>
            <pc:docMk/>
            <pc:sldMk cId="1286574319" sldId="1217"/>
            <ac:spMk id="21" creationId="{98C6B357-62E4-6748-4430-B70A865EA37C}"/>
          </ac:spMkLst>
        </pc:spChg>
        <pc:spChg chg="mod">
          <ac:chgData name="Devraj, Keerthi (DI SW ICS DVT CSF DV FS)" userId="a61e6969-d85e-42d5-913e-c7fe6fb96353" providerId="ADAL" clId="{8D2B4F8B-645F-482E-A867-56D9A41DB3EB}" dt="2023-11-15T09:43:27.424" v="1370"/>
          <ac:spMkLst>
            <pc:docMk/>
            <pc:sldMk cId="1286574319" sldId="1217"/>
            <ac:spMk id="22" creationId="{30CAA75C-392F-E97F-2E76-945516F39539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43:27.424" v="1370"/>
          <ac:spMkLst>
            <pc:docMk/>
            <pc:sldMk cId="1286574319" sldId="1217"/>
            <ac:spMk id="23" creationId="{20F56F8B-0F35-580C-72F8-E26AF435116E}"/>
          </ac:spMkLst>
        </pc:spChg>
        <pc:spChg chg="mod">
          <ac:chgData name="Devraj, Keerthi (DI SW ICS DVT CSF DV FS)" userId="a61e6969-d85e-42d5-913e-c7fe6fb96353" providerId="ADAL" clId="{8D2B4F8B-645F-482E-A867-56D9A41DB3EB}" dt="2023-11-15T09:43:27.424" v="1370"/>
          <ac:spMkLst>
            <pc:docMk/>
            <pc:sldMk cId="1286574319" sldId="1217"/>
            <ac:spMk id="25" creationId="{0A861B7F-F00D-234E-B135-D0A462E53527}"/>
          </ac:spMkLst>
        </pc:spChg>
        <pc:spChg chg="mod">
          <ac:chgData name="Devraj, Keerthi (DI SW ICS DVT CSF DV FS)" userId="a61e6969-d85e-42d5-913e-c7fe6fb96353" providerId="ADAL" clId="{8D2B4F8B-645F-482E-A867-56D9A41DB3EB}" dt="2023-11-15T09:43:27.424" v="1370"/>
          <ac:spMkLst>
            <pc:docMk/>
            <pc:sldMk cId="1286574319" sldId="1217"/>
            <ac:spMk id="27" creationId="{A527611B-F053-988E-382C-96A6CB89B440}"/>
          </ac:spMkLst>
        </pc:spChg>
        <pc:spChg chg="mod">
          <ac:chgData name="Devraj, Keerthi (DI SW ICS DVT CSF DV FS)" userId="a61e6969-d85e-42d5-913e-c7fe6fb96353" providerId="ADAL" clId="{8D2B4F8B-645F-482E-A867-56D9A41DB3EB}" dt="2023-11-15T09:43:27.424" v="1370"/>
          <ac:spMkLst>
            <pc:docMk/>
            <pc:sldMk cId="1286574319" sldId="1217"/>
            <ac:spMk id="28" creationId="{A5E5675D-384A-6584-7FA5-079BECCC23C8}"/>
          </ac:spMkLst>
        </pc:spChg>
        <pc:spChg chg="mod">
          <ac:chgData name="Devraj, Keerthi (DI SW ICS DVT CSF DV FS)" userId="a61e6969-d85e-42d5-913e-c7fe6fb96353" providerId="ADAL" clId="{8D2B4F8B-645F-482E-A867-56D9A41DB3EB}" dt="2023-11-15T09:43:27.424" v="1370"/>
          <ac:spMkLst>
            <pc:docMk/>
            <pc:sldMk cId="1286574319" sldId="1217"/>
            <ac:spMk id="29" creationId="{33B0BD1F-CFCD-3F0B-4C76-A4C95CAD666A}"/>
          </ac:spMkLst>
        </pc:spChg>
        <pc:spChg chg="mod">
          <ac:chgData name="Devraj, Keerthi (DI SW ICS DVT CSF DV FS)" userId="a61e6969-d85e-42d5-913e-c7fe6fb96353" providerId="ADAL" clId="{8D2B4F8B-645F-482E-A867-56D9A41DB3EB}" dt="2023-11-15T09:43:27.424" v="1370"/>
          <ac:spMkLst>
            <pc:docMk/>
            <pc:sldMk cId="1286574319" sldId="1217"/>
            <ac:spMk id="261" creationId="{DBD681ED-FA0D-3F7C-439A-ACA0A8A99534}"/>
          </ac:spMkLst>
        </pc:spChg>
        <pc:spChg chg="mod">
          <ac:chgData name="Devraj, Keerthi (DI SW ICS DVT CSF DV FS)" userId="a61e6969-d85e-42d5-913e-c7fe6fb96353" providerId="ADAL" clId="{8D2B4F8B-645F-482E-A867-56D9A41DB3EB}" dt="2023-11-15T09:43:27.424" v="1370"/>
          <ac:spMkLst>
            <pc:docMk/>
            <pc:sldMk cId="1286574319" sldId="1217"/>
            <ac:spMk id="262" creationId="{FAB01118-B43E-F3E3-21C9-6A7A86676B29}"/>
          </ac:spMkLst>
        </pc:spChg>
        <pc:grpChg chg="add mod">
          <ac:chgData name="Devraj, Keerthi (DI SW ICS DVT CSF DV FS)" userId="a61e6969-d85e-42d5-913e-c7fe6fb96353" providerId="ADAL" clId="{8D2B4F8B-645F-482E-A867-56D9A41DB3EB}" dt="2023-11-15T09:43:27.424" v="1370"/>
          <ac:grpSpMkLst>
            <pc:docMk/>
            <pc:sldMk cId="1286574319" sldId="1217"/>
            <ac:grpSpMk id="8" creationId="{69914672-8F79-A5CF-31D0-B45A7D65D883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43:27.424" v="1370"/>
          <ac:grpSpMkLst>
            <pc:docMk/>
            <pc:sldMk cId="1286574319" sldId="1217"/>
            <ac:grpSpMk id="10" creationId="{0C13EA8F-63A1-D1DD-B0CB-F1FB8C879015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43:27.424" v="1370"/>
          <ac:grpSpMkLst>
            <pc:docMk/>
            <pc:sldMk cId="1286574319" sldId="1217"/>
            <ac:grpSpMk id="20" creationId="{169C8CFB-F2B3-1970-C0A7-F4D822733FE5}"/>
          </ac:grpSpMkLst>
        </pc:grpChg>
        <pc:grpChg chg="add mod">
          <ac:chgData name="Devraj, Keerthi (DI SW ICS DVT CSF DV FS)" userId="a61e6969-d85e-42d5-913e-c7fe6fb96353" providerId="ADAL" clId="{8D2B4F8B-645F-482E-A867-56D9A41DB3EB}" dt="2023-11-15T09:43:27.424" v="1370"/>
          <ac:grpSpMkLst>
            <pc:docMk/>
            <pc:sldMk cId="1286574319" sldId="1217"/>
            <ac:grpSpMk id="24" creationId="{A03A62E1-5838-1481-9221-C46438D4B136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43:27.424" v="1370"/>
          <ac:grpSpMkLst>
            <pc:docMk/>
            <pc:sldMk cId="1286574319" sldId="1217"/>
            <ac:grpSpMk id="26" creationId="{301B94E8-48CF-7F5E-3883-58B7A324F102}"/>
          </ac:grpSpMkLst>
        </pc:grpChg>
        <pc:grpChg chg="mod">
          <ac:chgData name="Devraj, Keerthi (DI SW ICS DVT CSF DV FS)" userId="a61e6969-d85e-42d5-913e-c7fe6fb96353" providerId="ADAL" clId="{8D2B4F8B-645F-482E-A867-56D9A41DB3EB}" dt="2023-11-15T09:43:27.424" v="1370"/>
          <ac:grpSpMkLst>
            <pc:docMk/>
            <pc:sldMk cId="1286574319" sldId="1217"/>
            <ac:grpSpMk id="260" creationId="{181666A9-DA1B-2CE7-2C1B-544D73FA4C50}"/>
          </ac:grpSpMkLst>
        </pc:grpChg>
        <pc:cxnChg chg="mod">
          <ac:chgData name="Devraj, Keerthi (DI SW ICS DVT CSF DV FS)" userId="a61e6969-d85e-42d5-913e-c7fe6fb96353" providerId="ADAL" clId="{8D2B4F8B-645F-482E-A867-56D9A41DB3EB}" dt="2023-11-15T09:43:27.424" v="1370"/>
          <ac:cxnSpMkLst>
            <pc:docMk/>
            <pc:sldMk cId="1286574319" sldId="1217"/>
            <ac:cxnSpMk id="14" creationId="{1015A4AC-ECB9-384E-A7CD-167812856D90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3:27.424" v="1370"/>
          <ac:cxnSpMkLst>
            <pc:docMk/>
            <pc:sldMk cId="1286574319" sldId="1217"/>
            <ac:cxnSpMk id="15" creationId="{D1173FBB-D792-80A5-A301-A5BB4E00DED7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3:27.424" v="1370"/>
          <ac:cxnSpMkLst>
            <pc:docMk/>
            <pc:sldMk cId="1286574319" sldId="1217"/>
            <ac:cxnSpMk id="16" creationId="{CB500A1E-A29F-1ACF-56C3-14B8C968ACF8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3:27.424" v="1370"/>
          <ac:cxnSpMkLst>
            <pc:docMk/>
            <pc:sldMk cId="1286574319" sldId="1217"/>
            <ac:cxnSpMk id="17" creationId="{FFB04F47-B830-5114-3499-B089BED5F6C9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3:27.424" v="1370"/>
          <ac:cxnSpMkLst>
            <pc:docMk/>
            <pc:sldMk cId="1286574319" sldId="1217"/>
            <ac:cxnSpMk id="18" creationId="{7BF1FEC2-732A-0C30-69F2-DECA07BFAE01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3:27.424" v="1370"/>
          <ac:cxnSpMkLst>
            <pc:docMk/>
            <pc:sldMk cId="1286574319" sldId="1217"/>
            <ac:cxnSpMk id="19" creationId="{ABA895A8-C804-5459-3DA2-C99B61C80718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3:27.424" v="1370"/>
          <ac:cxnSpMkLst>
            <pc:docMk/>
            <pc:sldMk cId="1286574319" sldId="1217"/>
            <ac:cxnSpMk id="30" creationId="{549B45DA-0D31-049C-C133-A877189CA9D3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3:27.424" v="1370"/>
          <ac:cxnSpMkLst>
            <pc:docMk/>
            <pc:sldMk cId="1286574319" sldId="1217"/>
            <ac:cxnSpMk id="31" creationId="{92EF207D-FD8B-89ED-715F-94CB469C56A8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3:27.424" v="1370"/>
          <ac:cxnSpMkLst>
            <pc:docMk/>
            <pc:sldMk cId="1286574319" sldId="1217"/>
            <ac:cxnSpMk id="256" creationId="{41EC1D2D-42BC-FFD7-2584-36E0593C736A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3:27.424" v="1370"/>
          <ac:cxnSpMkLst>
            <pc:docMk/>
            <pc:sldMk cId="1286574319" sldId="1217"/>
            <ac:cxnSpMk id="257" creationId="{F88A99BC-50E9-4B4E-E2BD-1335F7DBFEC1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3:27.424" v="1370"/>
          <ac:cxnSpMkLst>
            <pc:docMk/>
            <pc:sldMk cId="1286574319" sldId="1217"/>
            <ac:cxnSpMk id="258" creationId="{0FB60C1F-C46D-4292-045C-43AB03975F7A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43:27.424" v="1370"/>
          <ac:cxnSpMkLst>
            <pc:docMk/>
            <pc:sldMk cId="1286574319" sldId="1217"/>
            <ac:cxnSpMk id="259" creationId="{186AD104-B803-7719-9D62-092B286B7614}"/>
          </ac:cxnSpMkLst>
        </pc:cxnChg>
      </pc:sldChg>
      <pc:sldChg chg="modSp add mod ord">
        <pc:chgData name="Devraj, Keerthi (DI SW ICS DVT CSF DV FS)" userId="a61e6969-d85e-42d5-913e-c7fe6fb96353" providerId="ADAL" clId="{8D2B4F8B-645F-482E-A867-56D9A41DB3EB}" dt="2023-11-15T09:45:22.540" v="1411" actId="20577"/>
        <pc:sldMkLst>
          <pc:docMk/>
          <pc:sldMk cId="1547506489" sldId="1218"/>
        </pc:sldMkLst>
        <pc:spChg chg="mod">
          <ac:chgData name="Devraj, Keerthi (DI SW ICS DVT CSF DV FS)" userId="a61e6969-d85e-42d5-913e-c7fe6fb96353" providerId="ADAL" clId="{8D2B4F8B-645F-482E-A867-56D9A41DB3EB}" dt="2023-11-15T09:45:22.540" v="1411" actId="20577"/>
          <ac:spMkLst>
            <pc:docMk/>
            <pc:sldMk cId="1547506489" sldId="1218"/>
            <ac:spMk id="2" creationId="{30A59CE0-18CE-9447-F486-84039784745F}"/>
          </ac:spMkLst>
        </pc:spChg>
      </pc:sldChg>
      <pc:sldChg chg="addSp modSp add mod">
        <pc:chgData name="Devraj, Keerthi (DI SW ICS DVT CSF DV FS)" userId="a61e6969-d85e-42d5-913e-c7fe6fb96353" providerId="ADAL" clId="{8D2B4F8B-645F-482E-A867-56D9A41DB3EB}" dt="2023-11-15T12:51:30.079" v="2767" actId="207"/>
        <pc:sldMkLst>
          <pc:docMk/>
          <pc:sldMk cId="1037651601" sldId="1219"/>
        </pc:sldMkLst>
        <pc:spChg chg="add mod">
          <ac:chgData name="Devraj, Keerthi (DI SW ICS DVT CSF DV FS)" userId="a61e6969-d85e-42d5-913e-c7fe6fb96353" providerId="ADAL" clId="{8D2B4F8B-645F-482E-A867-56D9A41DB3EB}" dt="2023-11-15T09:56:20.779" v="1498" actId="207"/>
          <ac:spMkLst>
            <pc:docMk/>
            <pc:sldMk cId="1037651601" sldId="1219"/>
            <ac:spMk id="2" creationId="{55074285-80B7-2E20-5272-83FD80F4AC57}"/>
          </ac:spMkLst>
        </pc:spChg>
        <pc:spChg chg="mod">
          <ac:chgData name="Devraj, Keerthi (DI SW ICS DVT CSF DV FS)" userId="a61e6969-d85e-42d5-913e-c7fe6fb96353" providerId="ADAL" clId="{8D2B4F8B-645F-482E-A867-56D9A41DB3EB}" dt="2023-11-15T10:38:54.684" v="1968" actId="208"/>
          <ac:spMkLst>
            <pc:docMk/>
            <pc:sldMk cId="1037651601" sldId="1219"/>
            <ac:spMk id="8" creationId="{E7D5B3FD-7322-9AB2-D172-254351E4A688}"/>
          </ac:spMkLst>
        </pc:spChg>
        <pc:spChg chg="mod">
          <ac:chgData name="Devraj, Keerthi (DI SW ICS DVT CSF DV FS)" userId="a61e6969-d85e-42d5-913e-c7fe6fb96353" providerId="ADAL" clId="{8D2B4F8B-645F-482E-A867-56D9A41DB3EB}" dt="2023-11-15T12:51:30.079" v="2767" actId="207"/>
          <ac:spMkLst>
            <pc:docMk/>
            <pc:sldMk cId="1037651601" sldId="1219"/>
            <ac:spMk id="11" creationId="{5270BB21-4DFB-8B39-7FA6-5F9974946F13}"/>
          </ac:spMkLst>
        </pc:spChg>
        <pc:cxnChg chg="add mod">
          <ac:chgData name="Devraj, Keerthi (DI SW ICS DVT CSF DV FS)" userId="a61e6969-d85e-42d5-913e-c7fe6fb96353" providerId="ADAL" clId="{8D2B4F8B-645F-482E-A867-56D9A41DB3EB}" dt="2023-11-15T09:56:15.081" v="1497" actId="1036"/>
          <ac:cxnSpMkLst>
            <pc:docMk/>
            <pc:sldMk cId="1037651601" sldId="1219"/>
            <ac:cxnSpMk id="4" creationId="{D718BBD6-463A-9ADA-E7B8-9B3808C7D88E}"/>
          </ac:cxnSpMkLst>
        </pc:cxnChg>
      </pc:sldChg>
      <pc:sldChg chg="addSp delSp modSp add mod">
        <pc:chgData name="Devraj, Keerthi (DI SW ICS DVT CSF DV FS)" userId="a61e6969-d85e-42d5-913e-c7fe6fb96353" providerId="ADAL" clId="{8D2B4F8B-645F-482E-A867-56D9A41DB3EB}" dt="2023-11-15T10:38:58.864" v="1971" actId="1035"/>
        <pc:sldMkLst>
          <pc:docMk/>
          <pc:sldMk cId="3315039990" sldId="1220"/>
        </pc:sldMkLst>
        <pc:spChg chg="del">
          <ac:chgData name="Devraj, Keerthi (DI SW ICS DVT CSF DV FS)" userId="a61e6969-d85e-42d5-913e-c7fe6fb96353" providerId="ADAL" clId="{8D2B4F8B-645F-482E-A867-56D9A41DB3EB}" dt="2023-11-15T09:57:34.995" v="1577" actId="478"/>
          <ac:spMkLst>
            <pc:docMk/>
            <pc:sldMk cId="3315039990" sldId="1220"/>
            <ac:spMk id="2" creationId="{55074285-80B7-2E20-5272-83FD80F4AC57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57:48.420" v="1579" actId="207"/>
          <ac:spMkLst>
            <pc:docMk/>
            <pc:sldMk cId="3315039990" sldId="1220"/>
            <ac:spMk id="6" creationId="{63677679-7052-734F-0CDF-AF88BA624EF6}"/>
          </ac:spMkLst>
        </pc:spChg>
        <pc:spChg chg="add mod">
          <ac:chgData name="Devraj, Keerthi (DI SW ICS DVT CSF DV FS)" userId="a61e6969-d85e-42d5-913e-c7fe6fb96353" providerId="ADAL" clId="{8D2B4F8B-645F-482E-A867-56D9A41DB3EB}" dt="2023-11-15T09:57:48.420" v="1579" actId="207"/>
          <ac:spMkLst>
            <pc:docMk/>
            <pc:sldMk cId="3315039990" sldId="1220"/>
            <ac:spMk id="7" creationId="{8CEB6462-A985-9FEF-0672-5BDAEAB884D0}"/>
          </ac:spMkLst>
        </pc:spChg>
        <pc:spChg chg="mod">
          <ac:chgData name="Devraj, Keerthi (DI SW ICS DVT CSF DV FS)" userId="a61e6969-d85e-42d5-913e-c7fe6fb96353" providerId="ADAL" clId="{8D2B4F8B-645F-482E-A867-56D9A41DB3EB}" dt="2023-11-15T10:38:58.864" v="1971" actId="1035"/>
          <ac:spMkLst>
            <pc:docMk/>
            <pc:sldMk cId="3315039990" sldId="1220"/>
            <ac:spMk id="8" creationId="{E7D5B3FD-7322-9AB2-D172-254351E4A688}"/>
          </ac:spMkLst>
        </pc:spChg>
        <pc:spChg chg="del">
          <ac:chgData name="Devraj, Keerthi (DI SW ICS DVT CSF DV FS)" userId="a61e6969-d85e-42d5-913e-c7fe6fb96353" providerId="ADAL" clId="{8D2B4F8B-645F-482E-A867-56D9A41DB3EB}" dt="2023-11-15T09:57:31.222" v="1575" actId="478"/>
          <ac:spMkLst>
            <pc:docMk/>
            <pc:sldMk cId="3315039990" sldId="1220"/>
            <ac:spMk id="11" creationId="{5270BB21-4DFB-8B39-7FA6-5F9974946F13}"/>
          </ac:spMkLst>
        </pc:spChg>
        <pc:grpChg chg="del">
          <ac:chgData name="Devraj, Keerthi (DI SW ICS DVT CSF DV FS)" userId="a61e6969-d85e-42d5-913e-c7fe6fb96353" providerId="ADAL" clId="{8D2B4F8B-645F-482E-A867-56D9A41DB3EB}" dt="2023-11-15T09:57:32.895" v="1576" actId="478"/>
          <ac:grpSpMkLst>
            <pc:docMk/>
            <pc:sldMk cId="3315039990" sldId="1220"/>
            <ac:grpSpMk id="214" creationId="{144FD2A0-B67D-BE50-9BBA-E786C653DD60}"/>
          </ac:grpSpMkLst>
        </pc:grpChg>
        <pc:cxnChg chg="del mod">
          <ac:chgData name="Devraj, Keerthi (DI SW ICS DVT CSF DV FS)" userId="a61e6969-d85e-42d5-913e-c7fe6fb96353" providerId="ADAL" clId="{8D2B4F8B-645F-482E-A867-56D9A41DB3EB}" dt="2023-11-15T09:57:34.995" v="1577" actId="478"/>
          <ac:cxnSpMkLst>
            <pc:docMk/>
            <pc:sldMk cId="3315039990" sldId="1220"/>
            <ac:cxnSpMk id="4" creationId="{D718BBD6-463A-9ADA-E7B8-9B3808C7D88E}"/>
          </ac:cxnSpMkLst>
        </pc:cxnChg>
        <pc:cxnChg chg="mod">
          <ac:chgData name="Devraj, Keerthi (DI SW ICS DVT CSF DV FS)" userId="a61e6969-d85e-42d5-913e-c7fe6fb96353" providerId="ADAL" clId="{8D2B4F8B-645F-482E-A867-56D9A41DB3EB}" dt="2023-11-15T09:57:32.895" v="1576" actId="478"/>
          <ac:cxnSpMkLst>
            <pc:docMk/>
            <pc:sldMk cId="3315039990" sldId="1220"/>
            <ac:cxnSpMk id="213" creationId="{B00331D0-BB73-1D57-09A9-D0FD898F46D7}"/>
          </ac:cxnSpMkLst>
        </pc:cxnChg>
      </pc:sldChg>
      <pc:sldChg chg="addSp delSp modSp add mod">
        <pc:chgData name="Devraj, Keerthi (DI SW ICS DVT CSF DV FS)" userId="a61e6969-d85e-42d5-913e-c7fe6fb96353" providerId="ADAL" clId="{8D2B4F8B-645F-482E-A867-56D9A41DB3EB}" dt="2023-11-15T11:56:13.977" v="2368" actId="207"/>
        <pc:sldMkLst>
          <pc:docMk/>
          <pc:sldMk cId="83392790" sldId="1221"/>
        </pc:sldMkLst>
        <pc:spChg chg="add mod">
          <ac:chgData name="Devraj, Keerthi (DI SW ICS DVT CSF DV FS)" userId="a61e6969-d85e-42d5-913e-c7fe6fb96353" providerId="ADAL" clId="{8D2B4F8B-645F-482E-A867-56D9A41DB3EB}" dt="2023-11-15T11:56:13.977" v="2368" actId="207"/>
          <ac:spMkLst>
            <pc:docMk/>
            <pc:sldMk cId="83392790" sldId="1221"/>
            <ac:spMk id="2" creationId="{AF06CB5F-70DA-B0E0-7544-6798CCDD945D}"/>
          </ac:spMkLst>
        </pc:spChg>
        <pc:spChg chg="del">
          <ac:chgData name="Devraj, Keerthi (DI SW ICS DVT CSF DV FS)" userId="a61e6969-d85e-42d5-913e-c7fe6fb96353" providerId="ADAL" clId="{8D2B4F8B-645F-482E-A867-56D9A41DB3EB}" dt="2023-11-15T09:58:01.759" v="1581" actId="478"/>
          <ac:spMkLst>
            <pc:docMk/>
            <pc:sldMk cId="83392790" sldId="1221"/>
            <ac:spMk id="7" creationId="{8CEB6462-A985-9FEF-0672-5BDAEAB884D0}"/>
          </ac:spMkLst>
        </pc:spChg>
        <pc:spChg chg="mod">
          <ac:chgData name="Devraj, Keerthi (DI SW ICS DVT CSF DV FS)" userId="a61e6969-d85e-42d5-913e-c7fe6fb96353" providerId="ADAL" clId="{8D2B4F8B-645F-482E-A867-56D9A41DB3EB}" dt="2023-11-15T10:39:02.152" v="1972" actId="208"/>
          <ac:spMkLst>
            <pc:docMk/>
            <pc:sldMk cId="83392790" sldId="1221"/>
            <ac:spMk id="8" creationId="{E7D5B3FD-7322-9AB2-D172-254351E4A688}"/>
          </ac:spMkLst>
        </pc:spChg>
      </pc:sldChg>
      <pc:sldChg chg="addSp delSp modSp add mod">
        <pc:chgData name="Devraj, Keerthi (DI SW ICS DVT CSF DV FS)" userId="a61e6969-d85e-42d5-913e-c7fe6fb96353" providerId="ADAL" clId="{8D2B4F8B-645F-482E-A867-56D9A41DB3EB}" dt="2023-11-15T10:39:05.104" v="1973" actId="208"/>
        <pc:sldMkLst>
          <pc:docMk/>
          <pc:sldMk cId="145722136" sldId="1222"/>
        </pc:sldMkLst>
        <pc:spChg chg="del">
          <ac:chgData name="Devraj, Keerthi (DI SW ICS DVT CSF DV FS)" userId="a61e6969-d85e-42d5-913e-c7fe6fb96353" providerId="ADAL" clId="{8D2B4F8B-645F-482E-A867-56D9A41DB3EB}" dt="2023-11-15T10:12:25.344" v="1617" actId="478"/>
          <ac:spMkLst>
            <pc:docMk/>
            <pc:sldMk cId="145722136" sldId="1222"/>
            <ac:spMk id="2" creationId="{AF06CB5F-70DA-B0E0-7544-6798CCDD945D}"/>
          </ac:spMkLst>
        </pc:spChg>
        <pc:spChg chg="add del mod">
          <ac:chgData name="Devraj, Keerthi (DI SW ICS DVT CSF DV FS)" userId="a61e6969-d85e-42d5-913e-c7fe6fb96353" providerId="ADAL" clId="{8D2B4F8B-645F-482E-A867-56D9A41DB3EB}" dt="2023-11-15T10:14:29.714" v="1622"/>
          <ac:spMkLst>
            <pc:docMk/>
            <pc:sldMk cId="145722136" sldId="1222"/>
            <ac:spMk id="4" creationId="{6DA19FCC-A485-E1AC-ED6F-D06CB543E7BF}"/>
          </ac:spMkLst>
        </pc:spChg>
        <pc:spChg chg="del">
          <ac:chgData name="Devraj, Keerthi (DI SW ICS DVT CSF DV FS)" userId="a61e6969-d85e-42d5-913e-c7fe6fb96353" providerId="ADAL" clId="{8D2B4F8B-645F-482E-A867-56D9A41DB3EB}" dt="2023-11-15T10:12:25.344" v="1617" actId="478"/>
          <ac:spMkLst>
            <pc:docMk/>
            <pc:sldMk cId="145722136" sldId="1222"/>
            <ac:spMk id="6" creationId="{63677679-7052-734F-0CDF-AF88BA624EF6}"/>
          </ac:spMkLst>
        </pc:spChg>
        <pc:spChg chg="add del mod">
          <ac:chgData name="Devraj, Keerthi (DI SW ICS DVT CSF DV FS)" userId="a61e6969-d85e-42d5-913e-c7fe6fb96353" providerId="ADAL" clId="{8D2B4F8B-645F-482E-A867-56D9A41DB3EB}" dt="2023-11-15T10:14:29.714" v="1622"/>
          <ac:spMkLst>
            <pc:docMk/>
            <pc:sldMk cId="145722136" sldId="1222"/>
            <ac:spMk id="7" creationId="{3F4C2C72-3BDA-25D3-BA91-1B4B98C3C636}"/>
          </ac:spMkLst>
        </pc:spChg>
        <pc:spChg chg="mod">
          <ac:chgData name="Devraj, Keerthi (DI SW ICS DVT CSF DV FS)" userId="a61e6969-d85e-42d5-913e-c7fe6fb96353" providerId="ADAL" clId="{8D2B4F8B-645F-482E-A867-56D9A41DB3EB}" dt="2023-11-15T10:39:05.104" v="1973" actId="208"/>
          <ac:spMkLst>
            <pc:docMk/>
            <pc:sldMk cId="145722136" sldId="1222"/>
            <ac:spMk id="8" creationId="{E7D5B3FD-7322-9AB2-D172-254351E4A688}"/>
          </ac:spMkLst>
        </pc:spChg>
        <pc:spChg chg="add del mod">
          <ac:chgData name="Devraj, Keerthi (DI SW ICS DVT CSF DV FS)" userId="a61e6969-d85e-42d5-913e-c7fe6fb96353" providerId="ADAL" clId="{8D2B4F8B-645F-482E-A867-56D9A41DB3EB}" dt="2023-11-15T10:14:29.714" v="1622"/>
          <ac:spMkLst>
            <pc:docMk/>
            <pc:sldMk cId="145722136" sldId="1222"/>
            <ac:spMk id="11" creationId="{F8D29CA3-9231-26CC-347F-A27030D72E57}"/>
          </ac:spMkLst>
        </pc:spChg>
        <pc:spChg chg="add del mod">
          <ac:chgData name="Devraj, Keerthi (DI SW ICS DVT CSF DV FS)" userId="a61e6969-d85e-42d5-913e-c7fe6fb96353" providerId="ADAL" clId="{8D2B4F8B-645F-482E-A867-56D9A41DB3EB}" dt="2023-11-15T10:14:29.714" v="1622"/>
          <ac:spMkLst>
            <pc:docMk/>
            <pc:sldMk cId="145722136" sldId="1222"/>
            <ac:spMk id="12" creationId="{914435F3-1C0A-8157-AB84-8616828F8DA0}"/>
          </ac:spMkLst>
        </pc:spChg>
        <pc:spChg chg="mod">
          <ac:chgData name="Devraj, Keerthi (DI SW ICS DVT CSF DV FS)" userId="a61e6969-d85e-42d5-913e-c7fe6fb96353" providerId="ADAL" clId="{8D2B4F8B-645F-482E-A867-56D9A41DB3EB}" dt="2023-11-15T10:14:11.292" v="1618"/>
          <ac:spMkLst>
            <pc:docMk/>
            <pc:sldMk cId="145722136" sldId="1222"/>
            <ac:spMk id="28" creationId="{E00E088C-3D50-7109-4BB5-951E1DD3C2F6}"/>
          </ac:spMkLst>
        </pc:spChg>
        <pc:spChg chg="mod">
          <ac:chgData name="Devraj, Keerthi (DI SW ICS DVT CSF DV FS)" userId="a61e6969-d85e-42d5-913e-c7fe6fb96353" providerId="ADAL" clId="{8D2B4F8B-645F-482E-A867-56D9A41DB3EB}" dt="2023-11-15T10:14:11.292" v="1618"/>
          <ac:spMkLst>
            <pc:docMk/>
            <pc:sldMk cId="145722136" sldId="1222"/>
            <ac:spMk id="30" creationId="{A7ED5658-B302-5148-8306-D2035F147EF8}"/>
          </ac:spMkLst>
        </pc:spChg>
        <pc:spChg chg="mod">
          <ac:chgData name="Devraj, Keerthi (DI SW ICS DVT CSF DV FS)" userId="a61e6969-d85e-42d5-913e-c7fe6fb96353" providerId="ADAL" clId="{8D2B4F8B-645F-482E-A867-56D9A41DB3EB}" dt="2023-11-15T10:14:11.292" v="1618"/>
          <ac:spMkLst>
            <pc:docMk/>
            <pc:sldMk cId="145722136" sldId="1222"/>
            <ac:spMk id="31" creationId="{277D63C1-A813-CFC3-A50B-1E8D81DF0B67}"/>
          </ac:spMkLst>
        </pc:spChg>
        <pc:spChg chg="mod">
          <ac:chgData name="Devraj, Keerthi (DI SW ICS DVT CSF DV FS)" userId="a61e6969-d85e-42d5-913e-c7fe6fb96353" providerId="ADAL" clId="{8D2B4F8B-645F-482E-A867-56D9A41DB3EB}" dt="2023-11-15T10:14:11.292" v="1618"/>
          <ac:spMkLst>
            <pc:docMk/>
            <pc:sldMk cId="145722136" sldId="1222"/>
            <ac:spMk id="96" creationId="{12FABB7C-0CD4-08C1-9079-AE0B7824678C}"/>
          </ac:spMkLst>
        </pc:spChg>
        <pc:spChg chg="mod">
          <ac:chgData name="Devraj, Keerthi (DI SW ICS DVT CSF DV FS)" userId="a61e6969-d85e-42d5-913e-c7fe6fb96353" providerId="ADAL" clId="{8D2B4F8B-645F-482E-A867-56D9A41DB3EB}" dt="2023-11-15T10:14:11.292" v="1618"/>
          <ac:spMkLst>
            <pc:docMk/>
            <pc:sldMk cId="145722136" sldId="1222"/>
            <ac:spMk id="104" creationId="{C6C5136C-D3C4-3A3D-2993-37C52759CE70}"/>
          </ac:spMkLst>
        </pc:spChg>
        <pc:spChg chg="mod">
          <ac:chgData name="Devraj, Keerthi (DI SW ICS DVT CSF DV FS)" userId="a61e6969-d85e-42d5-913e-c7fe6fb96353" providerId="ADAL" clId="{8D2B4F8B-645F-482E-A867-56D9A41DB3EB}" dt="2023-11-15T10:14:11.292" v="1618"/>
          <ac:spMkLst>
            <pc:docMk/>
            <pc:sldMk cId="145722136" sldId="1222"/>
            <ac:spMk id="105" creationId="{01160EFA-6717-EA4B-BAD5-AA1E082E0068}"/>
          </ac:spMkLst>
        </pc:spChg>
        <pc:spChg chg="mod">
          <ac:chgData name="Devraj, Keerthi (DI SW ICS DVT CSF DV FS)" userId="a61e6969-d85e-42d5-913e-c7fe6fb96353" providerId="ADAL" clId="{8D2B4F8B-645F-482E-A867-56D9A41DB3EB}" dt="2023-11-15T10:14:11.292" v="1618"/>
          <ac:spMkLst>
            <pc:docMk/>
            <pc:sldMk cId="145722136" sldId="1222"/>
            <ac:spMk id="107" creationId="{44D2E86F-FD8C-545D-772D-5141EF88A0E3}"/>
          </ac:spMkLst>
        </pc:spChg>
        <pc:spChg chg="mod">
          <ac:chgData name="Devraj, Keerthi (DI SW ICS DVT CSF DV FS)" userId="a61e6969-d85e-42d5-913e-c7fe6fb96353" providerId="ADAL" clId="{8D2B4F8B-645F-482E-A867-56D9A41DB3EB}" dt="2023-11-15T10:14:11.292" v="1618"/>
          <ac:spMkLst>
            <pc:docMk/>
            <pc:sldMk cId="145722136" sldId="1222"/>
            <ac:spMk id="109" creationId="{C36E7D03-6173-2D62-11B2-5FCEA69652CC}"/>
          </ac:spMkLst>
        </pc:spChg>
        <pc:spChg chg="mod">
          <ac:chgData name="Devraj, Keerthi (DI SW ICS DVT CSF DV FS)" userId="a61e6969-d85e-42d5-913e-c7fe6fb96353" providerId="ADAL" clId="{8D2B4F8B-645F-482E-A867-56D9A41DB3EB}" dt="2023-11-15T10:14:11.292" v="1618"/>
          <ac:spMkLst>
            <pc:docMk/>
            <pc:sldMk cId="145722136" sldId="1222"/>
            <ac:spMk id="110" creationId="{DBBD2A96-15F7-975E-3F5A-91617B2C4A09}"/>
          </ac:spMkLst>
        </pc:spChg>
        <pc:spChg chg="mod">
          <ac:chgData name="Devraj, Keerthi (DI SW ICS DVT CSF DV FS)" userId="a61e6969-d85e-42d5-913e-c7fe6fb96353" providerId="ADAL" clId="{8D2B4F8B-645F-482E-A867-56D9A41DB3EB}" dt="2023-11-15T10:14:11.292" v="1618"/>
          <ac:spMkLst>
            <pc:docMk/>
            <pc:sldMk cId="145722136" sldId="1222"/>
            <ac:spMk id="111" creationId="{5600249D-810F-F23D-3094-D2DF6A6AA308}"/>
          </ac:spMkLst>
        </pc:spChg>
        <pc:spChg chg="mod">
          <ac:chgData name="Devraj, Keerthi (DI SW ICS DVT CSF DV FS)" userId="a61e6969-d85e-42d5-913e-c7fe6fb96353" providerId="ADAL" clId="{8D2B4F8B-645F-482E-A867-56D9A41DB3EB}" dt="2023-11-15T10:14:11.292" v="1618"/>
          <ac:spMkLst>
            <pc:docMk/>
            <pc:sldMk cId="145722136" sldId="1222"/>
            <ac:spMk id="122" creationId="{9BEAE8E9-5D6B-3D23-D943-DEF91E2E457D}"/>
          </ac:spMkLst>
        </pc:spChg>
        <pc:spChg chg="mod">
          <ac:chgData name="Devraj, Keerthi (DI SW ICS DVT CSF DV FS)" userId="a61e6969-d85e-42d5-913e-c7fe6fb96353" providerId="ADAL" clId="{8D2B4F8B-645F-482E-A867-56D9A41DB3EB}" dt="2023-11-15T10:14:11.292" v="1618"/>
          <ac:spMkLst>
            <pc:docMk/>
            <pc:sldMk cId="145722136" sldId="1222"/>
            <ac:spMk id="123" creationId="{EB134AC7-F6D4-2E61-4B4D-21C065E4C22B}"/>
          </ac:spMkLst>
        </pc:spChg>
        <pc:spChg chg="add del mod">
          <ac:chgData name="Devraj, Keerthi (DI SW ICS DVT CSF DV FS)" userId="a61e6969-d85e-42d5-913e-c7fe6fb96353" providerId="ADAL" clId="{8D2B4F8B-645F-482E-A867-56D9A41DB3EB}" dt="2023-11-15T10:14:29.714" v="1622"/>
          <ac:spMkLst>
            <pc:docMk/>
            <pc:sldMk cId="145722136" sldId="1222"/>
            <ac:spMk id="124" creationId="{860C4036-2357-2D26-1AA1-CC9B5609981F}"/>
          </ac:spMkLst>
        </pc:spChg>
        <pc:spChg chg="mod">
          <ac:chgData name="Devraj, Keerthi (DI SW ICS DVT CSF DV FS)" userId="a61e6969-d85e-42d5-913e-c7fe6fb96353" providerId="ADAL" clId="{8D2B4F8B-645F-482E-A867-56D9A41DB3EB}" dt="2023-11-15T10:14:11.292" v="1618"/>
          <ac:spMkLst>
            <pc:docMk/>
            <pc:sldMk cId="145722136" sldId="1222"/>
            <ac:spMk id="126" creationId="{FF2465F5-B31D-3BA3-19AB-449CBC5276BC}"/>
          </ac:spMkLst>
        </pc:spChg>
        <pc:spChg chg="mod">
          <ac:chgData name="Devraj, Keerthi (DI SW ICS DVT CSF DV FS)" userId="a61e6969-d85e-42d5-913e-c7fe6fb96353" providerId="ADAL" clId="{8D2B4F8B-645F-482E-A867-56D9A41DB3EB}" dt="2023-11-15T10:14:11.292" v="1618"/>
          <ac:spMkLst>
            <pc:docMk/>
            <pc:sldMk cId="145722136" sldId="1222"/>
            <ac:spMk id="128" creationId="{B37FC6B7-9A3B-EC34-09E9-980EB9DE4F81}"/>
          </ac:spMkLst>
        </pc:spChg>
        <pc:spChg chg="mod">
          <ac:chgData name="Devraj, Keerthi (DI SW ICS DVT CSF DV FS)" userId="a61e6969-d85e-42d5-913e-c7fe6fb96353" providerId="ADAL" clId="{8D2B4F8B-645F-482E-A867-56D9A41DB3EB}" dt="2023-11-15T10:14:11.292" v="1618"/>
          <ac:spMkLst>
            <pc:docMk/>
            <pc:sldMk cId="145722136" sldId="1222"/>
            <ac:spMk id="129" creationId="{A7B8ED8B-B1B6-2C0A-38BB-9CD0AF3F0A3E}"/>
          </ac:spMkLst>
        </pc:spChg>
        <pc:spChg chg="mod">
          <ac:chgData name="Devraj, Keerthi (DI SW ICS DVT CSF DV FS)" userId="a61e6969-d85e-42d5-913e-c7fe6fb96353" providerId="ADAL" clId="{8D2B4F8B-645F-482E-A867-56D9A41DB3EB}" dt="2023-11-15T10:14:11.292" v="1618"/>
          <ac:spMkLst>
            <pc:docMk/>
            <pc:sldMk cId="145722136" sldId="1222"/>
            <ac:spMk id="130" creationId="{24570D9A-B036-B0A0-2229-58F897B12161}"/>
          </ac:spMkLst>
        </pc:spChg>
        <pc:spChg chg="mod">
          <ac:chgData name="Devraj, Keerthi (DI SW ICS DVT CSF DV FS)" userId="a61e6969-d85e-42d5-913e-c7fe6fb96353" providerId="ADAL" clId="{8D2B4F8B-645F-482E-A867-56D9A41DB3EB}" dt="2023-11-15T10:14:11.292" v="1618"/>
          <ac:spMkLst>
            <pc:docMk/>
            <pc:sldMk cId="145722136" sldId="1222"/>
            <ac:spMk id="138" creationId="{831EAE4B-CAFC-3F44-555D-359ACBAFE590}"/>
          </ac:spMkLst>
        </pc:spChg>
        <pc:spChg chg="mod">
          <ac:chgData name="Devraj, Keerthi (DI SW ICS DVT CSF DV FS)" userId="a61e6969-d85e-42d5-913e-c7fe6fb96353" providerId="ADAL" clId="{8D2B4F8B-645F-482E-A867-56D9A41DB3EB}" dt="2023-11-15T10:14:11.292" v="1618"/>
          <ac:spMkLst>
            <pc:docMk/>
            <pc:sldMk cId="145722136" sldId="1222"/>
            <ac:spMk id="139" creationId="{98D04442-9E77-2D8D-6FC9-7C5F29E2EADF}"/>
          </ac:spMkLst>
        </pc:spChg>
        <pc:spChg chg="add del mod">
          <ac:chgData name="Devraj, Keerthi (DI SW ICS DVT CSF DV FS)" userId="a61e6969-d85e-42d5-913e-c7fe6fb96353" providerId="ADAL" clId="{8D2B4F8B-645F-482E-A867-56D9A41DB3EB}" dt="2023-11-15T10:14:29.714" v="1622"/>
          <ac:spMkLst>
            <pc:docMk/>
            <pc:sldMk cId="145722136" sldId="1222"/>
            <ac:spMk id="141" creationId="{107F7255-D455-3258-DDE9-E349681667B4}"/>
          </ac:spMkLst>
        </pc:spChg>
        <pc:spChg chg="add del mod">
          <ac:chgData name="Devraj, Keerthi (DI SW ICS DVT CSF DV FS)" userId="a61e6969-d85e-42d5-913e-c7fe6fb96353" providerId="ADAL" clId="{8D2B4F8B-645F-482E-A867-56D9A41DB3EB}" dt="2023-11-15T10:14:29.714" v="1622"/>
          <ac:spMkLst>
            <pc:docMk/>
            <pc:sldMk cId="145722136" sldId="1222"/>
            <ac:spMk id="142" creationId="{BE9F6A52-5074-14FE-DFBB-C2656ED7E412}"/>
          </ac:spMkLst>
        </pc:spChg>
        <pc:spChg chg="add del mod">
          <ac:chgData name="Devraj, Keerthi (DI SW ICS DVT CSF DV FS)" userId="a61e6969-d85e-42d5-913e-c7fe6fb96353" providerId="ADAL" clId="{8D2B4F8B-645F-482E-A867-56D9A41DB3EB}" dt="2023-11-15T10:14:29.714" v="1622"/>
          <ac:spMkLst>
            <pc:docMk/>
            <pc:sldMk cId="145722136" sldId="1222"/>
            <ac:spMk id="146" creationId="{D4466A35-70A1-2AD9-8719-EDF4ECC010A1}"/>
          </ac:spMkLst>
        </pc:spChg>
        <pc:spChg chg="add del mod">
          <ac:chgData name="Devraj, Keerthi (DI SW ICS DVT CSF DV FS)" userId="a61e6969-d85e-42d5-913e-c7fe6fb96353" providerId="ADAL" clId="{8D2B4F8B-645F-482E-A867-56D9A41DB3EB}" dt="2023-11-15T10:14:29.714" v="1622"/>
          <ac:spMkLst>
            <pc:docMk/>
            <pc:sldMk cId="145722136" sldId="1222"/>
            <ac:spMk id="147" creationId="{C827C615-1A49-319E-6776-8320A6D3A584}"/>
          </ac:spMkLst>
        </pc:spChg>
        <pc:spChg chg="mod">
          <ac:chgData name="Devraj, Keerthi (DI SW ICS DVT CSF DV FS)" userId="a61e6969-d85e-42d5-913e-c7fe6fb96353" providerId="ADAL" clId="{8D2B4F8B-645F-482E-A867-56D9A41DB3EB}" dt="2023-11-15T10:14:11.292" v="1618"/>
          <ac:spMkLst>
            <pc:docMk/>
            <pc:sldMk cId="145722136" sldId="1222"/>
            <ac:spMk id="149" creationId="{E4C76670-D701-C397-73F4-3C20D9F2F2EC}"/>
          </ac:spMkLst>
        </pc:spChg>
        <pc:spChg chg="mod">
          <ac:chgData name="Devraj, Keerthi (DI SW ICS DVT CSF DV FS)" userId="a61e6969-d85e-42d5-913e-c7fe6fb96353" providerId="ADAL" clId="{8D2B4F8B-645F-482E-A867-56D9A41DB3EB}" dt="2023-11-15T10:14:11.292" v="1618"/>
          <ac:spMkLst>
            <pc:docMk/>
            <pc:sldMk cId="145722136" sldId="1222"/>
            <ac:spMk id="151" creationId="{4689B213-E66B-6E19-2F51-02551B44F294}"/>
          </ac:spMkLst>
        </pc:spChg>
        <pc:spChg chg="mod">
          <ac:chgData name="Devraj, Keerthi (DI SW ICS DVT CSF DV FS)" userId="a61e6969-d85e-42d5-913e-c7fe6fb96353" providerId="ADAL" clId="{8D2B4F8B-645F-482E-A867-56D9A41DB3EB}" dt="2023-11-15T10:14:11.292" v="1618"/>
          <ac:spMkLst>
            <pc:docMk/>
            <pc:sldMk cId="145722136" sldId="1222"/>
            <ac:spMk id="152" creationId="{6B68795E-98AB-EC04-3A48-14C7C66A3891}"/>
          </ac:spMkLst>
        </pc:spChg>
        <pc:spChg chg="mod">
          <ac:chgData name="Devraj, Keerthi (DI SW ICS DVT CSF DV FS)" userId="a61e6969-d85e-42d5-913e-c7fe6fb96353" providerId="ADAL" clId="{8D2B4F8B-645F-482E-A867-56D9A41DB3EB}" dt="2023-11-15T10:14:11.292" v="1618"/>
          <ac:spMkLst>
            <pc:docMk/>
            <pc:sldMk cId="145722136" sldId="1222"/>
            <ac:spMk id="153" creationId="{7A6F36D7-AB1A-9B9E-067A-EAAFFE0A92E3}"/>
          </ac:spMkLst>
        </pc:spChg>
        <pc:spChg chg="mod">
          <ac:chgData name="Devraj, Keerthi (DI SW ICS DVT CSF DV FS)" userId="a61e6969-d85e-42d5-913e-c7fe6fb96353" providerId="ADAL" clId="{8D2B4F8B-645F-482E-A867-56D9A41DB3EB}" dt="2023-11-15T10:14:11.292" v="1618"/>
          <ac:spMkLst>
            <pc:docMk/>
            <pc:sldMk cId="145722136" sldId="1222"/>
            <ac:spMk id="161" creationId="{88B774F5-CA4A-87B7-44A2-09702F51D45B}"/>
          </ac:spMkLst>
        </pc:spChg>
        <pc:spChg chg="mod">
          <ac:chgData name="Devraj, Keerthi (DI SW ICS DVT CSF DV FS)" userId="a61e6969-d85e-42d5-913e-c7fe6fb96353" providerId="ADAL" clId="{8D2B4F8B-645F-482E-A867-56D9A41DB3EB}" dt="2023-11-15T10:14:11.292" v="1618"/>
          <ac:spMkLst>
            <pc:docMk/>
            <pc:sldMk cId="145722136" sldId="1222"/>
            <ac:spMk id="162" creationId="{7E39FA65-17F5-7B12-23D6-B7166DDFAA71}"/>
          </ac:spMkLst>
        </pc:spChg>
        <pc:spChg chg="add del mod">
          <ac:chgData name="Devraj, Keerthi (DI SW ICS DVT CSF DV FS)" userId="a61e6969-d85e-42d5-913e-c7fe6fb96353" providerId="ADAL" clId="{8D2B4F8B-645F-482E-A867-56D9A41DB3EB}" dt="2023-11-15T10:14:29.714" v="1622"/>
          <ac:spMkLst>
            <pc:docMk/>
            <pc:sldMk cId="145722136" sldId="1222"/>
            <ac:spMk id="163" creationId="{2AD5825C-BD3F-8CAA-1558-221F9A579980}"/>
          </ac:spMkLst>
        </pc:spChg>
        <pc:spChg chg="mod">
          <ac:chgData name="Devraj, Keerthi (DI SW ICS DVT CSF DV FS)" userId="a61e6969-d85e-42d5-913e-c7fe6fb96353" providerId="ADAL" clId="{8D2B4F8B-645F-482E-A867-56D9A41DB3EB}" dt="2023-11-15T10:14:11.292" v="1618"/>
          <ac:spMkLst>
            <pc:docMk/>
            <pc:sldMk cId="145722136" sldId="1222"/>
            <ac:spMk id="165" creationId="{5F9FC380-B758-5091-392A-6CE81E1AE08F}"/>
          </ac:spMkLst>
        </pc:spChg>
        <pc:spChg chg="mod">
          <ac:chgData name="Devraj, Keerthi (DI SW ICS DVT CSF DV FS)" userId="a61e6969-d85e-42d5-913e-c7fe6fb96353" providerId="ADAL" clId="{8D2B4F8B-645F-482E-A867-56D9A41DB3EB}" dt="2023-11-15T10:14:11.292" v="1618"/>
          <ac:spMkLst>
            <pc:docMk/>
            <pc:sldMk cId="145722136" sldId="1222"/>
            <ac:spMk id="167" creationId="{887BBD60-34D1-0399-360B-B144372EEB02}"/>
          </ac:spMkLst>
        </pc:spChg>
        <pc:spChg chg="mod">
          <ac:chgData name="Devraj, Keerthi (DI SW ICS DVT CSF DV FS)" userId="a61e6969-d85e-42d5-913e-c7fe6fb96353" providerId="ADAL" clId="{8D2B4F8B-645F-482E-A867-56D9A41DB3EB}" dt="2023-11-15T10:14:11.292" v="1618"/>
          <ac:spMkLst>
            <pc:docMk/>
            <pc:sldMk cId="145722136" sldId="1222"/>
            <ac:spMk id="168" creationId="{D4D74279-AD0A-8973-ED9B-D62B407B59B6}"/>
          </ac:spMkLst>
        </pc:spChg>
        <pc:spChg chg="mod">
          <ac:chgData name="Devraj, Keerthi (DI SW ICS DVT CSF DV FS)" userId="a61e6969-d85e-42d5-913e-c7fe6fb96353" providerId="ADAL" clId="{8D2B4F8B-645F-482E-A867-56D9A41DB3EB}" dt="2023-11-15T10:14:11.292" v="1618"/>
          <ac:spMkLst>
            <pc:docMk/>
            <pc:sldMk cId="145722136" sldId="1222"/>
            <ac:spMk id="169" creationId="{C1CAC472-3283-F94B-0498-93B2CB9206E8}"/>
          </ac:spMkLst>
        </pc:spChg>
        <pc:spChg chg="mod">
          <ac:chgData name="Devraj, Keerthi (DI SW ICS DVT CSF DV FS)" userId="a61e6969-d85e-42d5-913e-c7fe6fb96353" providerId="ADAL" clId="{8D2B4F8B-645F-482E-A867-56D9A41DB3EB}" dt="2023-11-15T10:14:11.292" v="1618"/>
          <ac:spMkLst>
            <pc:docMk/>
            <pc:sldMk cId="145722136" sldId="1222"/>
            <ac:spMk id="177" creationId="{FC9247EA-2A9D-175B-78FC-E942F263BD2B}"/>
          </ac:spMkLst>
        </pc:spChg>
        <pc:spChg chg="mod">
          <ac:chgData name="Devraj, Keerthi (DI SW ICS DVT CSF DV FS)" userId="a61e6969-d85e-42d5-913e-c7fe6fb96353" providerId="ADAL" clId="{8D2B4F8B-645F-482E-A867-56D9A41DB3EB}" dt="2023-11-15T10:14:11.292" v="1618"/>
          <ac:spMkLst>
            <pc:docMk/>
            <pc:sldMk cId="145722136" sldId="1222"/>
            <ac:spMk id="178" creationId="{3E3913AC-E983-E0D4-1B5B-933E59BE6D4B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14:53.670" v="1627" actId="1076"/>
          <ac:spMkLst>
            <pc:docMk/>
            <pc:sldMk cId="145722136" sldId="1222"/>
            <ac:spMk id="179" creationId="{1FB0F5B3-22C4-C08D-0E53-E205F58D4412}"/>
          </ac:spMkLst>
        </pc:spChg>
        <pc:grpChg chg="add del mod">
          <ac:chgData name="Devraj, Keerthi (DI SW ICS DVT CSF DV FS)" userId="a61e6969-d85e-42d5-913e-c7fe6fb96353" providerId="ADAL" clId="{8D2B4F8B-645F-482E-A867-56D9A41DB3EB}" dt="2023-11-15T10:14:29.714" v="1622"/>
          <ac:grpSpMkLst>
            <pc:docMk/>
            <pc:sldMk cId="145722136" sldId="1222"/>
            <ac:grpSpMk id="13" creationId="{8AA4B8E2-4DF6-D5F1-B647-E8A6D01A30A9}"/>
          </ac:grpSpMkLst>
        </pc:grpChg>
        <pc:grpChg chg="add del mod">
          <ac:chgData name="Devraj, Keerthi (DI SW ICS DVT CSF DV FS)" userId="a61e6969-d85e-42d5-913e-c7fe6fb96353" providerId="ADAL" clId="{8D2B4F8B-645F-482E-A867-56D9A41DB3EB}" dt="2023-11-15T10:14:29.714" v="1622"/>
          <ac:grpSpMkLst>
            <pc:docMk/>
            <pc:sldMk cId="145722136" sldId="1222"/>
            <ac:grpSpMk id="20" creationId="{884B58E1-9FEB-D3D1-BE4A-8C0D448124B1}"/>
          </ac:grpSpMkLst>
        </pc:grpChg>
        <pc:grpChg chg="add del mod">
          <ac:chgData name="Devraj, Keerthi (DI SW ICS DVT CSF DV FS)" userId="a61e6969-d85e-42d5-913e-c7fe6fb96353" providerId="ADAL" clId="{8D2B4F8B-645F-482E-A867-56D9A41DB3EB}" dt="2023-11-15T10:14:29.714" v="1622"/>
          <ac:grpSpMkLst>
            <pc:docMk/>
            <pc:sldMk cId="145722136" sldId="1222"/>
            <ac:grpSpMk id="27" creationId="{217AD93C-E215-8E4D-BFEC-29A615E6B040}"/>
          </ac:grpSpMkLst>
        </pc:grpChg>
        <pc:grpChg chg="mod">
          <ac:chgData name="Devraj, Keerthi (DI SW ICS DVT CSF DV FS)" userId="a61e6969-d85e-42d5-913e-c7fe6fb96353" providerId="ADAL" clId="{8D2B4F8B-645F-482E-A867-56D9A41DB3EB}" dt="2023-11-15T10:14:11.292" v="1618"/>
          <ac:grpSpMkLst>
            <pc:docMk/>
            <pc:sldMk cId="145722136" sldId="1222"/>
            <ac:grpSpMk id="29" creationId="{33E99347-2BAD-97E4-A441-48C6C68E8910}"/>
          </ac:grpSpMkLst>
        </pc:grpChg>
        <pc:grpChg chg="mod">
          <ac:chgData name="Devraj, Keerthi (DI SW ICS DVT CSF DV FS)" userId="a61e6969-d85e-42d5-913e-c7fe6fb96353" providerId="ADAL" clId="{8D2B4F8B-645F-482E-A867-56D9A41DB3EB}" dt="2023-11-15T10:14:11.292" v="1618"/>
          <ac:grpSpMkLst>
            <pc:docMk/>
            <pc:sldMk cId="145722136" sldId="1222"/>
            <ac:grpSpMk id="103" creationId="{B11312DF-26DE-FDA7-806B-4846486C6336}"/>
          </ac:grpSpMkLst>
        </pc:grpChg>
        <pc:grpChg chg="add del mod">
          <ac:chgData name="Devraj, Keerthi (DI SW ICS DVT CSF DV FS)" userId="a61e6969-d85e-42d5-913e-c7fe6fb96353" providerId="ADAL" clId="{8D2B4F8B-645F-482E-A867-56D9A41DB3EB}" dt="2023-11-15T10:14:29.714" v="1622"/>
          <ac:grpSpMkLst>
            <pc:docMk/>
            <pc:sldMk cId="145722136" sldId="1222"/>
            <ac:grpSpMk id="106" creationId="{4DEC1AB3-9EAF-8B47-CF77-840635C7BBEA}"/>
          </ac:grpSpMkLst>
        </pc:grpChg>
        <pc:grpChg chg="mod">
          <ac:chgData name="Devraj, Keerthi (DI SW ICS DVT CSF DV FS)" userId="a61e6969-d85e-42d5-913e-c7fe6fb96353" providerId="ADAL" clId="{8D2B4F8B-645F-482E-A867-56D9A41DB3EB}" dt="2023-11-15T10:14:11.292" v="1618"/>
          <ac:grpSpMkLst>
            <pc:docMk/>
            <pc:sldMk cId="145722136" sldId="1222"/>
            <ac:grpSpMk id="108" creationId="{BD2B0B22-EA1F-81BC-664F-CE8180D71C0F}"/>
          </ac:grpSpMkLst>
        </pc:grpChg>
        <pc:grpChg chg="mod">
          <ac:chgData name="Devraj, Keerthi (DI SW ICS DVT CSF DV FS)" userId="a61e6969-d85e-42d5-913e-c7fe6fb96353" providerId="ADAL" clId="{8D2B4F8B-645F-482E-A867-56D9A41DB3EB}" dt="2023-11-15T10:14:11.292" v="1618"/>
          <ac:grpSpMkLst>
            <pc:docMk/>
            <pc:sldMk cId="145722136" sldId="1222"/>
            <ac:grpSpMk id="121" creationId="{C0558C2C-FA68-594E-DC24-311CEEA46AAB}"/>
          </ac:grpSpMkLst>
        </pc:grpChg>
        <pc:grpChg chg="add del mod">
          <ac:chgData name="Devraj, Keerthi (DI SW ICS DVT CSF DV FS)" userId="a61e6969-d85e-42d5-913e-c7fe6fb96353" providerId="ADAL" clId="{8D2B4F8B-645F-482E-A867-56D9A41DB3EB}" dt="2023-11-15T10:14:29.714" v="1622"/>
          <ac:grpSpMkLst>
            <pc:docMk/>
            <pc:sldMk cId="145722136" sldId="1222"/>
            <ac:grpSpMk id="125" creationId="{37155B07-9121-0B80-664E-B0D54DBDB583}"/>
          </ac:grpSpMkLst>
        </pc:grpChg>
        <pc:grpChg chg="mod">
          <ac:chgData name="Devraj, Keerthi (DI SW ICS DVT CSF DV FS)" userId="a61e6969-d85e-42d5-913e-c7fe6fb96353" providerId="ADAL" clId="{8D2B4F8B-645F-482E-A867-56D9A41DB3EB}" dt="2023-11-15T10:14:11.292" v="1618"/>
          <ac:grpSpMkLst>
            <pc:docMk/>
            <pc:sldMk cId="145722136" sldId="1222"/>
            <ac:grpSpMk id="127" creationId="{83AA2E6A-3FE6-D0A8-3354-7D3A058B4E73}"/>
          </ac:grpSpMkLst>
        </pc:grpChg>
        <pc:grpChg chg="mod">
          <ac:chgData name="Devraj, Keerthi (DI SW ICS DVT CSF DV FS)" userId="a61e6969-d85e-42d5-913e-c7fe6fb96353" providerId="ADAL" clId="{8D2B4F8B-645F-482E-A867-56D9A41DB3EB}" dt="2023-11-15T10:14:11.292" v="1618"/>
          <ac:grpSpMkLst>
            <pc:docMk/>
            <pc:sldMk cId="145722136" sldId="1222"/>
            <ac:grpSpMk id="137" creationId="{200A38AF-19DC-3AD4-C7B7-8D0FACEFF6B9}"/>
          </ac:grpSpMkLst>
        </pc:grpChg>
        <pc:grpChg chg="add del mod">
          <ac:chgData name="Devraj, Keerthi (DI SW ICS DVT CSF DV FS)" userId="a61e6969-d85e-42d5-913e-c7fe6fb96353" providerId="ADAL" clId="{8D2B4F8B-645F-482E-A867-56D9A41DB3EB}" dt="2023-11-15T10:14:29.714" v="1622"/>
          <ac:grpSpMkLst>
            <pc:docMk/>
            <pc:sldMk cId="145722136" sldId="1222"/>
            <ac:grpSpMk id="148" creationId="{6262D2A6-173C-F8DB-24CC-BEF52749A2FE}"/>
          </ac:grpSpMkLst>
        </pc:grpChg>
        <pc:grpChg chg="mod">
          <ac:chgData name="Devraj, Keerthi (DI SW ICS DVT CSF DV FS)" userId="a61e6969-d85e-42d5-913e-c7fe6fb96353" providerId="ADAL" clId="{8D2B4F8B-645F-482E-A867-56D9A41DB3EB}" dt="2023-11-15T10:14:11.292" v="1618"/>
          <ac:grpSpMkLst>
            <pc:docMk/>
            <pc:sldMk cId="145722136" sldId="1222"/>
            <ac:grpSpMk id="150" creationId="{4CCE50E0-7463-6561-157E-1CFA6468C840}"/>
          </ac:grpSpMkLst>
        </pc:grpChg>
        <pc:grpChg chg="mod">
          <ac:chgData name="Devraj, Keerthi (DI SW ICS DVT CSF DV FS)" userId="a61e6969-d85e-42d5-913e-c7fe6fb96353" providerId="ADAL" clId="{8D2B4F8B-645F-482E-A867-56D9A41DB3EB}" dt="2023-11-15T10:14:11.292" v="1618"/>
          <ac:grpSpMkLst>
            <pc:docMk/>
            <pc:sldMk cId="145722136" sldId="1222"/>
            <ac:grpSpMk id="160" creationId="{BF7E9BFC-6633-255F-35BE-BB50DAB4D3F3}"/>
          </ac:grpSpMkLst>
        </pc:grpChg>
        <pc:grpChg chg="add del mod">
          <ac:chgData name="Devraj, Keerthi (DI SW ICS DVT CSF DV FS)" userId="a61e6969-d85e-42d5-913e-c7fe6fb96353" providerId="ADAL" clId="{8D2B4F8B-645F-482E-A867-56D9A41DB3EB}" dt="2023-11-15T10:14:29.714" v="1622"/>
          <ac:grpSpMkLst>
            <pc:docMk/>
            <pc:sldMk cId="145722136" sldId="1222"/>
            <ac:grpSpMk id="164" creationId="{C1A43F0D-8C2B-C86E-4BD4-DDFC07E2781F}"/>
          </ac:grpSpMkLst>
        </pc:grpChg>
        <pc:grpChg chg="mod">
          <ac:chgData name="Devraj, Keerthi (DI SW ICS DVT CSF DV FS)" userId="a61e6969-d85e-42d5-913e-c7fe6fb96353" providerId="ADAL" clId="{8D2B4F8B-645F-482E-A867-56D9A41DB3EB}" dt="2023-11-15T10:14:11.292" v="1618"/>
          <ac:grpSpMkLst>
            <pc:docMk/>
            <pc:sldMk cId="145722136" sldId="1222"/>
            <ac:grpSpMk id="166" creationId="{22F6880E-37D7-AD40-E5CE-AD54602A357F}"/>
          </ac:grpSpMkLst>
        </pc:grpChg>
        <pc:grpChg chg="mod">
          <ac:chgData name="Devraj, Keerthi (DI SW ICS DVT CSF DV FS)" userId="a61e6969-d85e-42d5-913e-c7fe6fb96353" providerId="ADAL" clId="{8D2B4F8B-645F-482E-A867-56D9A41DB3EB}" dt="2023-11-15T10:14:11.292" v="1618"/>
          <ac:grpSpMkLst>
            <pc:docMk/>
            <pc:sldMk cId="145722136" sldId="1222"/>
            <ac:grpSpMk id="176" creationId="{FD9A06B3-D60D-F747-3C29-7749E9509C8C}"/>
          </ac:grpSpMkLst>
        </pc:grpChg>
        <pc:cxnChg chg="mod">
          <ac:chgData name="Devraj, Keerthi (DI SW ICS DVT CSF DV FS)" userId="a61e6969-d85e-42d5-913e-c7fe6fb96353" providerId="ADAL" clId="{8D2B4F8B-645F-482E-A867-56D9A41DB3EB}" dt="2023-11-15T10:14:11.292" v="1618"/>
          <ac:cxnSpMkLst>
            <pc:docMk/>
            <pc:sldMk cId="145722136" sldId="1222"/>
            <ac:cxnSpMk id="14" creationId="{66266B0B-DFD4-F302-4A6D-556EDB563116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14:11.292" v="1618"/>
          <ac:cxnSpMkLst>
            <pc:docMk/>
            <pc:sldMk cId="145722136" sldId="1222"/>
            <ac:cxnSpMk id="15" creationId="{0D49EE06-6535-7D8F-4C9F-37BCCB5C336C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14:11.292" v="1618"/>
          <ac:cxnSpMkLst>
            <pc:docMk/>
            <pc:sldMk cId="145722136" sldId="1222"/>
            <ac:cxnSpMk id="16" creationId="{35374DC9-524B-14CD-4EC8-A1D2CCD5543C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14:11.292" v="1618"/>
          <ac:cxnSpMkLst>
            <pc:docMk/>
            <pc:sldMk cId="145722136" sldId="1222"/>
            <ac:cxnSpMk id="17" creationId="{07B72E23-5E88-43F3-FD5D-DCB25B20CC90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14:11.292" v="1618"/>
          <ac:cxnSpMkLst>
            <pc:docMk/>
            <pc:sldMk cId="145722136" sldId="1222"/>
            <ac:cxnSpMk id="18" creationId="{CBC5F940-593B-EDC4-2A10-CDE764BFA829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14:11.292" v="1618"/>
          <ac:cxnSpMkLst>
            <pc:docMk/>
            <pc:sldMk cId="145722136" sldId="1222"/>
            <ac:cxnSpMk id="19" creationId="{FA3A67D1-6AD8-C255-B7A9-04DD526784CF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14:11.292" v="1618"/>
          <ac:cxnSpMkLst>
            <pc:docMk/>
            <pc:sldMk cId="145722136" sldId="1222"/>
            <ac:cxnSpMk id="21" creationId="{71CE4B35-9835-E41D-3CF7-9665E1EC4188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14:11.292" v="1618"/>
          <ac:cxnSpMkLst>
            <pc:docMk/>
            <pc:sldMk cId="145722136" sldId="1222"/>
            <ac:cxnSpMk id="22" creationId="{268D9D4A-7A0F-5065-8007-0AE4C8975627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14:11.292" v="1618"/>
          <ac:cxnSpMkLst>
            <pc:docMk/>
            <pc:sldMk cId="145722136" sldId="1222"/>
            <ac:cxnSpMk id="23" creationId="{6E6C8879-F94B-8B11-64F2-3BA174F2AE8B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14:11.292" v="1618"/>
          <ac:cxnSpMkLst>
            <pc:docMk/>
            <pc:sldMk cId="145722136" sldId="1222"/>
            <ac:cxnSpMk id="24" creationId="{3C5FD696-F0D9-7146-DEA4-75F7B664346C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14:11.292" v="1618"/>
          <ac:cxnSpMkLst>
            <pc:docMk/>
            <pc:sldMk cId="145722136" sldId="1222"/>
            <ac:cxnSpMk id="25" creationId="{AAE0E420-3402-F982-5AF5-6EC106220998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14:11.292" v="1618"/>
          <ac:cxnSpMkLst>
            <pc:docMk/>
            <pc:sldMk cId="145722136" sldId="1222"/>
            <ac:cxnSpMk id="26" creationId="{2B886563-AA55-C740-27A8-009895E3A9BE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14:11.292" v="1618"/>
          <ac:cxnSpMkLst>
            <pc:docMk/>
            <pc:sldMk cId="145722136" sldId="1222"/>
            <ac:cxnSpMk id="97" creationId="{A1DDFD77-8C7D-A22E-1CA4-6F4535257DF7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14:11.292" v="1618"/>
          <ac:cxnSpMkLst>
            <pc:docMk/>
            <pc:sldMk cId="145722136" sldId="1222"/>
            <ac:cxnSpMk id="98" creationId="{21B7267E-42C5-78A2-BF29-BF1F7D1348E6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14:11.292" v="1618"/>
          <ac:cxnSpMkLst>
            <pc:docMk/>
            <pc:sldMk cId="145722136" sldId="1222"/>
            <ac:cxnSpMk id="99" creationId="{0DCC2DDA-A790-171A-E084-EE35C6ADF339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14:11.292" v="1618"/>
          <ac:cxnSpMkLst>
            <pc:docMk/>
            <pc:sldMk cId="145722136" sldId="1222"/>
            <ac:cxnSpMk id="100" creationId="{10408533-6EE3-1FD6-B635-33388DDACDCE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14:11.292" v="1618"/>
          <ac:cxnSpMkLst>
            <pc:docMk/>
            <pc:sldMk cId="145722136" sldId="1222"/>
            <ac:cxnSpMk id="101" creationId="{7AA4A2A1-9086-F61E-F6B6-23B47FDDACED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14:11.292" v="1618"/>
          <ac:cxnSpMkLst>
            <pc:docMk/>
            <pc:sldMk cId="145722136" sldId="1222"/>
            <ac:cxnSpMk id="102" creationId="{1A7D690D-45D2-BA66-05D9-E28019234A64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14:11.292" v="1618"/>
          <ac:cxnSpMkLst>
            <pc:docMk/>
            <pc:sldMk cId="145722136" sldId="1222"/>
            <ac:cxnSpMk id="115" creationId="{E5E06F7E-0FC8-BBBE-9714-93447C866760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14:11.292" v="1618"/>
          <ac:cxnSpMkLst>
            <pc:docMk/>
            <pc:sldMk cId="145722136" sldId="1222"/>
            <ac:cxnSpMk id="116" creationId="{C6071ABE-3F9E-14BA-3798-251A660467FD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14:11.292" v="1618"/>
          <ac:cxnSpMkLst>
            <pc:docMk/>
            <pc:sldMk cId="145722136" sldId="1222"/>
            <ac:cxnSpMk id="117" creationId="{77D3A073-C4D9-48F1-C6DA-A47B943BF9F1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14:11.292" v="1618"/>
          <ac:cxnSpMkLst>
            <pc:docMk/>
            <pc:sldMk cId="145722136" sldId="1222"/>
            <ac:cxnSpMk id="118" creationId="{E3915FDD-B83C-83AA-A766-C8D2F61DEF33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14:11.292" v="1618"/>
          <ac:cxnSpMkLst>
            <pc:docMk/>
            <pc:sldMk cId="145722136" sldId="1222"/>
            <ac:cxnSpMk id="119" creationId="{CD99710B-1C4E-225A-4500-8B7401D44F17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14:11.292" v="1618"/>
          <ac:cxnSpMkLst>
            <pc:docMk/>
            <pc:sldMk cId="145722136" sldId="1222"/>
            <ac:cxnSpMk id="120" creationId="{EF94A5B4-74E4-45AC-70CC-020E228F0519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14:11.292" v="1618"/>
          <ac:cxnSpMkLst>
            <pc:docMk/>
            <pc:sldMk cId="145722136" sldId="1222"/>
            <ac:cxnSpMk id="131" creationId="{F3FE592B-4950-56FE-222D-ABA362409E85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14:11.292" v="1618"/>
          <ac:cxnSpMkLst>
            <pc:docMk/>
            <pc:sldMk cId="145722136" sldId="1222"/>
            <ac:cxnSpMk id="132" creationId="{0331AB25-BF48-93D3-FF44-658C5AA3532E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14:11.292" v="1618"/>
          <ac:cxnSpMkLst>
            <pc:docMk/>
            <pc:sldMk cId="145722136" sldId="1222"/>
            <ac:cxnSpMk id="133" creationId="{CD6CDBF1-2B90-491D-23FD-031A2A1F9969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14:11.292" v="1618"/>
          <ac:cxnSpMkLst>
            <pc:docMk/>
            <pc:sldMk cId="145722136" sldId="1222"/>
            <ac:cxnSpMk id="134" creationId="{9E4C30D5-DD55-0C7D-F07D-4D856954B83E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14:11.292" v="1618"/>
          <ac:cxnSpMkLst>
            <pc:docMk/>
            <pc:sldMk cId="145722136" sldId="1222"/>
            <ac:cxnSpMk id="135" creationId="{E636CD78-A225-8317-C16A-FD9C76651BC7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14:11.292" v="1618"/>
          <ac:cxnSpMkLst>
            <pc:docMk/>
            <pc:sldMk cId="145722136" sldId="1222"/>
            <ac:cxnSpMk id="136" creationId="{FD366AE7-A63F-D6E9-FDE9-3E6BE5687BFD}"/>
          </ac:cxnSpMkLst>
        </pc:cxnChg>
        <pc:cxnChg chg="add del mod">
          <ac:chgData name="Devraj, Keerthi (DI SW ICS DVT CSF DV FS)" userId="a61e6969-d85e-42d5-913e-c7fe6fb96353" providerId="ADAL" clId="{8D2B4F8B-645F-482E-A867-56D9A41DB3EB}" dt="2023-11-15T10:14:29.714" v="1622"/>
          <ac:cxnSpMkLst>
            <pc:docMk/>
            <pc:sldMk cId="145722136" sldId="1222"/>
            <ac:cxnSpMk id="140" creationId="{D62F8C74-8400-4914-F496-A2761FE42663}"/>
          </ac:cxnSpMkLst>
        </pc:cxnChg>
        <pc:cxnChg chg="add del mod">
          <ac:chgData name="Devraj, Keerthi (DI SW ICS DVT CSF DV FS)" userId="a61e6969-d85e-42d5-913e-c7fe6fb96353" providerId="ADAL" clId="{8D2B4F8B-645F-482E-A867-56D9A41DB3EB}" dt="2023-11-15T10:14:29.714" v="1622"/>
          <ac:cxnSpMkLst>
            <pc:docMk/>
            <pc:sldMk cId="145722136" sldId="1222"/>
            <ac:cxnSpMk id="143" creationId="{AEA6E9B2-BF12-5A50-2348-C038AE97E9E0}"/>
          </ac:cxnSpMkLst>
        </pc:cxnChg>
        <pc:cxnChg chg="add del mod">
          <ac:chgData name="Devraj, Keerthi (DI SW ICS DVT CSF DV FS)" userId="a61e6969-d85e-42d5-913e-c7fe6fb96353" providerId="ADAL" clId="{8D2B4F8B-645F-482E-A867-56D9A41DB3EB}" dt="2023-11-15T10:14:29.714" v="1622"/>
          <ac:cxnSpMkLst>
            <pc:docMk/>
            <pc:sldMk cId="145722136" sldId="1222"/>
            <ac:cxnSpMk id="144" creationId="{5E24BD62-2DAC-84B8-39E9-8846C05AE831}"/>
          </ac:cxnSpMkLst>
        </pc:cxnChg>
        <pc:cxnChg chg="add del mod">
          <ac:chgData name="Devraj, Keerthi (DI SW ICS DVT CSF DV FS)" userId="a61e6969-d85e-42d5-913e-c7fe6fb96353" providerId="ADAL" clId="{8D2B4F8B-645F-482E-A867-56D9A41DB3EB}" dt="2023-11-15T10:14:29.714" v="1622"/>
          <ac:cxnSpMkLst>
            <pc:docMk/>
            <pc:sldMk cId="145722136" sldId="1222"/>
            <ac:cxnSpMk id="145" creationId="{FD5ECB7E-D577-068D-E5FB-B13CF5B0EED1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14:11.292" v="1618"/>
          <ac:cxnSpMkLst>
            <pc:docMk/>
            <pc:sldMk cId="145722136" sldId="1222"/>
            <ac:cxnSpMk id="154" creationId="{8888C76E-4D0F-00DA-C04B-C58790B92ED7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14:11.292" v="1618"/>
          <ac:cxnSpMkLst>
            <pc:docMk/>
            <pc:sldMk cId="145722136" sldId="1222"/>
            <ac:cxnSpMk id="155" creationId="{C9D97F19-8D6F-D8DD-8BBE-F475907A849B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14:11.292" v="1618"/>
          <ac:cxnSpMkLst>
            <pc:docMk/>
            <pc:sldMk cId="145722136" sldId="1222"/>
            <ac:cxnSpMk id="156" creationId="{A0B70B51-6BAA-1315-69CD-D1385A22FF95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14:11.292" v="1618"/>
          <ac:cxnSpMkLst>
            <pc:docMk/>
            <pc:sldMk cId="145722136" sldId="1222"/>
            <ac:cxnSpMk id="157" creationId="{3A2F5D81-0BC1-A201-F1F7-1C5BE6D1D149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14:11.292" v="1618"/>
          <ac:cxnSpMkLst>
            <pc:docMk/>
            <pc:sldMk cId="145722136" sldId="1222"/>
            <ac:cxnSpMk id="158" creationId="{5675998D-58BB-6B22-B99F-823C8621D0B2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14:11.292" v="1618"/>
          <ac:cxnSpMkLst>
            <pc:docMk/>
            <pc:sldMk cId="145722136" sldId="1222"/>
            <ac:cxnSpMk id="159" creationId="{BE316241-630F-7783-3159-1A2DEC07D869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14:11.292" v="1618"/>
          <ac:cxnSpMkLst>
            <pc:docMk/>
            <pc:sldMk cId="145722136" sldId="1222"/>
            <ac:cxnSpMk id="170" creationId="{09E4591D-C94E-3BE4-27BF-B77B5261F867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14:11.292" v="1618"/>
          <ac:cxnSpMkLst>
            <pc:docMk/>
            <pc:sldMk cId="145722136" sldId="1222"/>
            <ac:cxnSpMk id="171" creationId="{02E5D981-6494-4CAD-D480-7A67E7AB8F9B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14:11.292" v="1618"/>
          <ac:cxnSpMkLst>
            <pc:docMk/>
            <pc:sldMk cId="145722136" sldId="1222"/>
            <ac:cxnSpMk id="172" creationId="{042F8EC6-D159-832E-9A47-ED90804567FD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14:11.292" v="1618"/>
          <ac:cxnSpMkLst>
            <pc:docMk/>
            <pc:sldMk cId="145722136" sldId="1222"/>
            <ac:cxnSpMk id="173" creationId="{AEAE7EE5-30CC-3CD5-D172-95C9C7EA87CC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14:11.292" v="1618"/>
          <ac:cxnSpMkLst>
            <pc:docMk/>
            <pc:sldMk cId="145722136" sldId="1222"/>
            <ac:cxnSpMk id="174" creationId="{49B4BF57-AB09-3B25-E6FE-C4D7E50BBD3A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14:11.292" v="1618"/>
          <ac:cxnSpMkLst>
            <pc:docMk/>
            <pc:sldMk cId="145722136" sldId="1222"/>
            <ac:cxnSpMk id="175" creationId="{FBEE0098-854D-9019-BC39-F6F19D14D7EA}"/>
          </ac:cxnSpMkLst>
        </pc:cxnChg>
      </pc:sldChg>
      <pc:sldChg chg="addSp delSp modSp add mod">
        <pc:chgData name="Devraj, Keerthi (DI SW ICS DVT CSF DV FS)" userId="a61e6969-d85e-42d5-913e-c7fe6fb96353" providerId="ADAL" clId="{8D2B4F8B-645F-482E-A867-56D9A41DB3EB}" dt="2023-11-15T12:26:35.511" v="2669" actId="207"/>
        <pc:sldMkLst>
          <pc:docMk/>
          <pc:sldMk cId="1067733080" sldId="1223"/>
        </pc:sldMkLst>
        <pc:spChg chg="add mod">
          <ac:chgData name="Devraj, Keerthi (DI SW ICS DVT CSF DV FS)" userId="a61e6969-d85e-42d5-913e-c7fe6fb96353" providerId="ADAL" clId="{8D2B4F8B-645F-482E-A867-56D9A41DB3EB}" dt="2023-11-15T10:27:40.936" v="1815" actId="207"/>
          <ac:spMkLst>
            <pc:docMk/>
            <pc:sldMk cId="1067733080" sldId="1223"/>
            <ac:spMk id="2" creationId="{D6F0FCDC-5CAA-9ADB-83ED-5FF1553AA8E9}"/>
          </ac:spMkLst>
        </pc:spChg>
        <pc:spChg chg="del">
          <ac:chgData name="Devraj, Keerthi (DI SW ICS DVT CSF DV FS)" userId="a61e6969-d85e-42d5-913e-c7fe6fb96353" providerId="ADAL" clId="{8D2B4F8B-645F-482E-A867-56D9A41DB3EB}" dt="2023-11-15T10:15:12.812" v="1630" actId="478"/>
          <ac:spMkLst>
            <pc:docMk/>
            <pc:sldMk cId="1067733080" sldId="1223"/>
            <ac:spMk id="4" creationId="{6DA19FCC-A485-E1AC-ED6F-D06CB543E7BF}"/>
          </ac:spMkLst>
        </pc:spChg>
        <pc:spChg chg="del">
          <ac:chgData name="Devraj, Keerthi (DI SW ICS DVT CSF DV FS)" userId="a61e6969-d85e-42d5-913e-c7fe6fb96353" providerId="ADAL" clId="{8D2B4F8B-645F-482E-A867-56D9A41DB3EB}" dt="2023-11-15T10:15:32.324" v="1633" actId="478"/>
          <ac:spMkLst>
            <pc:docMk/>
            <pc:sldMk cId="1067733080" sldId="1223"/>
            <ac:spMk id="7" creationId="{3F4C2C72-3BDA-25D3-BA91-1B4B98C3C636}"/>
          </ac:spMkLst>
        </pc:spChg>
        <pc:spChg chg="mod">
          <ac:chgData name="Devraj, Keerthi (DI SW ICS DVT CSF DV FS)" userId="a61e6969-d85e-42d5-913e-c7fe6fb96353" providerId="ADAL" clId="{8D2B4F8B-645F-482E-A867-56D9A41DB3EB}" dt="2023-11-15T10:39:07.872" v="1974" actId="208"/>
          <ac:spMkLst>
            <pc:docMk/>
            <pc:sldMk cId="1067733080" sldId="1223"/>
            <ac:spMk id="8" creationId="{E7D5B3FD-7322-9AB2-D172-254351E4A688}"/>
          </ac:spMkLst>
        </pc:spChg>
        <pc:spChg chg="del">
          <ac:chgData name="Devraj, Keerthi (DI SW ICS DVT CSF DV FS)" userId="a61e6969-d85e-42d5-913e-c7fe6fb96353" providerId="ADAL" clId="{8D2B4F8B-645F-482E-A867-56D9A41DB3EB}" dt="2023-11-15T10:15:32.324" v="1633" actId="478"/>
          <ac:spMkLst>
            <pc:docMk/>
            <pc:sldMk cId="1067733080" sldId="1223"/>
            <ac:spMk id="11" creationId="{F8D29CA3-9231-26CC-347F-A27030D72E57}"/>
          </ac:spMkLst>
        </pc:spChg>
        <pc:spChg chg="del">
          <ac:chgData name="Devraj, Keerthi (DI SW ICS DVT CSF DV FS)" userId="a61e6969-d85e-42d5-913e-c7fe6fb96353" providerId="ADAL" clId="{8D2B4F8B-645F-482E-A867-56D9A41DB3EB}" dt="2023-11-15T10:15:32.324" v="1633" actId="478"/>
          <ac:spMkLst>
            <pc:docMk/>
            <pc:sldMk cId="1067733080" sldId="1223"/>
            <ac:spMk id="12" creationId="{914435F3-1C0A-8157-AB84-8616828F8DA0}"/>
          </ac:spMkLst>
        </pc:spChg>
        <pc:spChg chg="del">
          <ac:chgData name="Devraj, Keerthi (DI SW ICS DVT CSF DV FS)" userId="a61e6969-d85e-42d5-913e-c7fe6fb96353" providerId="ADAL" clId="{8D2B4F8B-645F-482E-A867-56D9A41DB3EB}" dt="2023-11-15T10:15:32.324" v="1633" actId="478"/>
          <ac:spMkLst>
            <pc:docMk/>
            <pc:sldMk cId="1067733080" sldId="1223"/>
            <ac:spMk id="124" creationId="{860C4036-2357-2D26-1AA1-CC9B5609981F}"/>
          </ac:spMkLst>
        </pc:spChg>
        <pc:spChg chg="del">
          <ac:chgData name="Devraj, Keerthi (DI SW ICS DVT CSF DV FS)" userId="a61e6969-d85e-42d5-913e-c7fe6fb96353" providerId="ADAL" clId="{8D2B4F8B-645F-482E-A867-56D9A41DB3EB}" dt="2023-11-15T10:15:32.324" v="1633" actId="478"/>
          <ac:spMkLst>
            <pc:docMk/>
            <pc:sldMk cId="1067733080" sldId="1223"/>
            <ac:spMk id="141" creationId="{107F7255-D455-3258-DDE9-E349681667B4}"/>
          </ac:spMkLst>
        </pc:spChg>
        <pc:spChg chg="del">
          <ac:chgData name="Devraj, Keerthi (DI SW ICS DVT CSF DV FS)" userId="a61e6969-d85e-42d5-913e-c7fe6fb96353" providerId="ADAL" clId="{8D2B4F8B-645F-482E-A867-56D9A41DB3EB}" dt="2023-11-15T10:15:32.324" v="1633" actId="478"/>
          <ac:spMkLst>
            <pc:docMk/>
            <pc:sldMk cId="1067733080" sldId="1223"/>
            <ac:spMk id="142" creationId="{BE9F6A52-5074-14FE-DFBB-C2656ED7E412}"/>
          </ac:spMkLst>
        </pc:spChg>
        <pc:spChg chg="del">
          <ac:chgData name="Devraj, Keerthi (DI SW ICS DVT CSF DV FS)" userId="a61e6969-d85e-42d5-913e-c7fe6fb96353" providerId="ADAL" clId="{8D2B4F8B-645F-482E-A867-56D9A41DB3EB}" dt="2023-11-15T10:15:32.324" v="1633" actId="478"/>
          <ac:spMkLst>
            <pc:docMk/>
            <pc:sldMk cId="1067733080" sldId="1223"/>
            <ac:spMk id="146" creationId="{D4466A35-70A1-2AD9-8719-EDF4ECC010A1}"/>
          </ac:spMkLst>
        </pc:spChg>
        <pc:spChg chg="del">
          <ac:chgData name="Devraj, Keerthi (DI SW ICS DVT CSF DV FS)" userId="a61e6969-d85e-42d5-913e-c7fe6fb96353" providerId="ADAL" clId="{8D2B4F8B-645F-482E-A867-56D9A41DB3EB}" dt="2023-11-15T10:15:32.324" v="1633" actId="478"/>
          <ac:spMkLst>
            <pc:docMk/>
            <pc:sldMk cId="1067733080" sldId="1223"/>
            <ac:spMk id="147" creationId="{C827C615-1A49-319E-6776-8320A6D3A584}"/>
          </ac:spMkLst>
        </pc:spChg>
        <pc:spChg chg="del">
          <ac:chgData name="Devraj, Keerthi (DI SW ICS DVT CSF DV FS)" userId="a61e6969-d85e-42d5-913e-c7fe6fb96353" providerId="ADAL" clId="{8D2B4F8B-645F-482E-A867-56D9A41DB3EB}" dt="2023-11-15T10:15:32.324" v="1633" actId="478"/>
          <ac:spMkLst>
            <pc:docMk/>
            <pc:sldMk cId="1067733080" sldId="1223"/>
            <ac:spMk id="163" creationId="{2AD5825C-BD3F-8CAA-1558-221F9A579980}"/>
          </ac:spMkLst>
        </pc:spChg>
        <pc:spChg chg="del">
          <ac:chgData name="Devraj, Keerthi (DI SW ICS DVT CSF DV FS)" userId="a61e6969-d85e-42d5-913e-c7fe6fb96353" providerId="ADAL" clId="{8D2B4F8B-645F-482E-A867-56D9A41DB3EB}" dt="2023-11-15T10:15:11.564" v="1629" actId="478"/>
          <ac:spMkLst>
            <pc:docMk/>
            <pc:sldMk cId="1067733080" sldId="1223"/>
            <ac:spMk id="179" creationId="{1FB0F5B3-22C4-C08D-0E53-E205F58D4412}"/>
          </ac:spMkLst>
        </pc:spChg>
        <pc:spChg chg="add del">
          <ac:chgData name="Devraj, Keerthi (DI SW ICS DVT CSF DV FS)" userId="a61e6969-d85e-42d5-913e-c7fe6fb96353" providerId="ADAL" clId="{8D2B4F8B-645F-482E-A867-56D9A41DB3EB}" dt="2023-11-15T10:17:54.244" v="1683" actId="478"/>
          <ac:spMkLst>
            <pc:docMk/>
            <pc:sldMk cId="1067733080" sldId="1223"/>
            <ac:spMk id="181" creationId="{F22A3E62-FA0E-2C36-B7EC-BB241A23342E}"/>
          </ac:spMkLst>
        </pc:spChg>
        <pc:spChg chg="add del mod ord">
          <ac:chgData name="Devraj, Keerthi (DI SW ICS DVT CSF DV FS)" userId="a61e6969-d85e-42d5-913e-c7fe6fb96353" providerId="ADAL" clId="{8D2B4F8B-645F-482E-A867-56D9A41DB3EB}" dt="2023-11-15T10:20:13.775" v="1702" actId="11529"/>
          <ac:spMkLst>
            <pc:docMk/>
            <pc:sldMk cId="1067733080" sldId="1223"/>
            <ac:spMk id="185" creationId="{F9B4A67A-F72C-25DC-EB66-4409547B0AEA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24:42.388" v="1752" actId="14100"/>
          <ac:spMkLst>
            <pc:docMk/>
            <pc:sldMk cId="1067733080" sldId="1223"/>
            <ac:spMk id="186" creationId="{E3D91B81-4756-288F-9B0F-EFF60C2DAA5C}"/>
          </ac:spMkLst>
        </pc:spChg>
        <pc:spChg chg="add mod">
          <ac:chgData name="Devraj, Keerthi (DI SW ICS DVT CSF DV FS)" userId="a61e6969-d85e-42d5-913e-c7fe6fb96353" providerId="ADAL" clId="{8D2B4F8B-645F-482E-A867-56D9A41DB3EB}" dt="2023-11-15T12:26:35.511" v="2669" actId="207"/>
          <ac:spMkLst>
            <pc:docMk/>
            <pc:sldMk cId="1067733080" sldId="1223"/>
            <ac:spMk id="198" creationId="{E5781A9A-37F6-AF76-C2FF-5BC6E95FAB36}"/>
          </ac:spMkLst>
        </pc:spChg>
        <pc:grpChg chg="del">
          <ac:chgData name="Devraj, Keerthi (DI SW ICS DVT CSF DV FS)" userId="a61e6969-d85e-42d5-913e-c7fe6fb96353" providerId="ADAL" clId="{8D2B4F8B-645F-482E-A867-56D9A41DB3EB}" dt="2023-11-15T10:15:32.324" v="1633" actId="478"/>
          <ac:grpSpMkLst>
            <pc:docMk/>
            <pc:sldMk cId="1067733080" sldId="1223"/>
            <ac:grpSpMk id="13" creationId="{8AA4B8E2-4DF6-D5F1-B647-E8A6D01A30A9}"/>
          </ac:grpSpMkLst>
        </pc:grpChg>
        <pc:grpChg chg="del">
          <ac:chgData name="Devraj, Keerthi (DI SW ICS DVT CSF DV FS)" userId="a61e6969-d85e-42d5-913e-c7fe6fb96353" providerId="ADAL" clId="{8D2B4F8B-645F-482E-A867-56D9A41DB3EB}" dt="2023-11-15T10:15:32.324" v="1633" actId="478"/>
          <ac:grpSpMkLst>
            <pc:docMk/>
            <pc:sldMk cId="1067733080" sldId="1223"/>
            <ac:grpSpMk id="20" creationId="{884B58E1-9FEB-D3D1-BE4A-8C0D448124B1}"/>
          </ac:grpSpMkLst>
        </pc:grpChg>
        <pc:grpChg chg="del">
          <ac:chgData name="Devraj, Keerthi (DI SW ICS DVT CSF DV FS)" userId="a61e6969-d85e-42d5-913e-c7fe6fb96353" providerId="ADAL" clId="{8D2B4F8B-645F-482E-A867-56D9A41DB3EB}" dt="2023-11-15T10:15:32.324" v="1633" actId="478"/>
          <ac:grpSpMkLst>
            <pc:docMk/>
            <pc:sldMk cId="1067733080" sldId="1223"/>
            <ac:grpSpMk id="27" creationId="{217AD93C-E215-8E4D-BFEC-29A615E6B040}"/>
          </ac:grpSpMkLst>
        </pc:grpChg>
        <pc:grpChg chg="del">
          <ac:chgData name="Devraj, Keerthi (DI SW ICS DVT CSF DV FS)" userId="a61e6969-d85e-42d5-913e-c7fe6fb96353" providerId="ADAL" clId="{8D2B4F8B-645F-482E-A867-56D9A41DB3EB}" dt="2023-11-15T10:15:32.324" v="1633" actId="478"/>
          <ac:grpSpMkLst>
            <pc:docMk/>
            <pc:sldMk cId="1067733080" sldId="1223"/>
            <ac:grpSpMk id="106" creationId="{4DEC1AB3-9EAF-8B47-CF77-840635C7BBEA}"/>
          </ac:grpSpMkLst>
        </pc:grpChg>
        <pc:grpChg chg="del">
          <ac:chgData name="Devraj, Keerthi (DI SW ICS DVT CSF DV FS)" userId="a61e6969-d85e-42d5-913e-c7fe6fb96353" providerId="ADAL" clId="{8D2B4F8B-645F-482E-A867-56D9A41DB3EB}" dt="2023-11-15T10:15:32.324" v="1633" actId="478"/>
          <ac:grpSpMkLst>
            <pc:docMk/>
            <pc:sldMk cId="1067733080" sldId="1223"/>
            <ac:grpSpMk id="125" creationId="{37155B07-9121-0B80-664E-B0D54DBDB583}"/>
          </ac:grpSpMkLst>
        </pc:grpChg>
        <pc:grpChg chg="del">
          <ac:chgData name="Devraj, Keerthi (DI SW ICS DVT CSF DV FS)" userId="a61e6969-d85e-42d5-913e-c7fe6fb96353" providerId="ADAL" clId="{8D2B4F8B-645F-482E-A867-56D9A41DB3EB}" dt="2023-11-15T10:15:32.324" v="1633" actId="478"/>
          <ac:grpSpMkLst>
            <pc:docMk/>
            <pc:sldMk cId="1067733080" sldId="1223"/>
            <ac:grpSpMk id="148" creationId="{6262D2A6-173C-F8DB-24CC-BEF52749A2FE}"/>
          </ac:grpSpMkLst>
        </pc:grpChg>
        <pc:grpChg chg="del">
          <ac:chgData name="Devraj, Keerthi (DI SW ICS DVT CSF DV FS)" userId="a61e6969-d85e-42d5-913e-c7fe6fb96353" providerId="ADAL" clId="{8D2B4F8B-645F-482E-A867-56D9A41DB3EB}" dt="2023-11-15T10:15:32.324" v="1633" actId="478"/>
          <ac:grpSpMkLst>
            <pc:docMk/>
            <pc:sldMk cId="1067733080" sldId="1223"/>
            <ac:grpSpMk id="164" creationId="{C1A43F0D-8C2B-C86E-4BD4-DDFC07E2781F}"/>
          </ac:grpSpMkLst>
        </pc:grpChg>
        <pc:grpChg chg="add del mod">
          <ac:chgData name="Devraj, Keerthi (DI SW ICS DVT CSF DV FS)" userId="a61e6969-d85e-42d5-913e-c7fe6fb96353" providerId="ADAL" clId="{8D2B4F8B-645F-482E-A867-56D9A41DB3EB}" dt="2023-11-15T10:20:16.908" v="1703" actId="478"/>
          <ac:grpSpMkLst>
            <pc:docMk/>
            <pc:sldMk cId="1067733080" sldId="1223"/>
            <ac:grpSpMk id="184" creationId="{7F4C1B50-0EA2-7386-4B6D-3229155CFC1E}"/>
          </ac:grpSpMkLst>
        </pc:grpChg>
        <pc:picChg chg="add mod modCrop">
          <ac:chgData name="Devraj, Keerthi (DI SW ICS DVT CSF DV FS)" userId="a61e6969-d85e-42d5-913e-c7fe6fb96353" providerId="ADAL" clId="{8D2B4F8B-645F-482E-A867-56D9A41DB3EB}" dt="2023-11-15T10:19:44.561" v="1695" actId="207"/>
          <ac:picMkLst>
            <pc:docMk/>
            <pc:sldMk cId="1067733080" sldId="1223"/>
            <ac:picMk id="180" creationId="{47C9064E-F7FF-7AC4-6A04-20050D9A49F3}"/>
          </ac:picMkLst>
        </pc:picChg>
        <pc:picChg chg="add mod">
          <ac:chgData name="Devraj, Keerthi (DI SW ICS DVT CSF DV FS)" userId="a61e6969-d85e-42d5-913e-c7fe6fb96353" providerId="ADAL" clId="{8D2B4F8B-645F-482E-A867-56D9A41DB3EB}" dt="2023-11-15T10:19:10.239" v="1692" actId="14100"/>
          <ac:picMkLst>
            <pc:docMk/>
            <pc:sldMk cId="1067733080" sldId="1223"/>
            <ac:picMk id="183" creationId="{DA6E321D-B9FE-27BB-50BF-894D659965A2}"/>
          </ac:picMkLst>
        </pc:picChg>
        <pc:cxnChg chg="del">
          <ac:chgData name="Devraj, Keerthi (DI SW ICS DVT CSF DV FS)" userId="a61e6969-d85e-42d5-913e-c7fe6fb96353" providerId="ADAL" clId="{8D2B4F8B-645F-482E-A867-56D9A41DB3EB}" dt="2023-11-15T10:15:32.324" v="1633" actId="478"/>
          <ac:cxnSpMkLst>
            <pc:docMk/>
            <pc:sldMk cId="1067733080" sldId="1223"/>
            <ac:cxnSpMk id="140" creationId="{D62F8C74-8400-4914-F496-A2761FE42663}"/>
          </ac:cxnSpMkLst>
        </pc:cxnChg>
        <pc:cxnChg chg="del mod">
          <ac:chgData name="Devraj, Keerthi (DI SW ICS DVT CSF DV FS)" userId="a61e6969-d85e-42d5-913e-c7fe6fb96353" providerId="ADAL" clId="{8D2B4F8B-645F-482E-A867-56D9A41DB3EB}" dt="2023-11-15T10:15:32.324" v="1633" actId="478"/>
          <ac:cxnSpMkLst>
            <pc:docMk/>
            <pc:sldMk cId="1067733080" sldId="1223"/>
            <ac:cxnSpMk id="143" creationId="{AEA6E9B2-BF12-5A50-2348-C038AE97E9E0}"/>
          </ac:cxnSpMkLst>
        </pc:cxnChg>
        <pc:cxnChg chg="del mod">
          <ac:chgData name="Devraj, Keerthi (DI SW ICS DVT CSF DV FS)" userId="a61e6969-d85e-42d5-913e-c7fe6fb96353" providerId="ADAL" clId="{8D2B4F8B-645F-482E-A867-56D9A41DB3EB}" dt="2023-11-15T10:15:32.324" v="1633" actId="478"/>
          <ac:cxnSpMkLst>
            <pc:docMk/>
            <pc:sldMk cId="1067733080" sldId="1223"/>
            <ac:cxnSpMk id="144" creationId="{5E24BD62-2DAC-84B8-39E9-8846C05AE831}"/>
          </ac:cxnSpMkLst>
        </pc:cxnChg>
        <pc:cxnChg chg="del mod">
          <ac:chgData name="Devraj, Keerthi (DI SW ICS DVT CSF DV FS)" userId="a61e6969-d85e-42d5-913e-c7fe6fb96353" providerId="ADAL" clId="{8D2B4F8B-645F-482E-A867-56D9A41DB3EB}" dt="2023-11-15T10:15:32.324" v="1633" actId="478"/>
          <ac:cxnSpMkLst>
            <pc:docMk/>
            <pc:sldMk cId="1067733080" sldId="1223"/>
            <ac:cxnSpMk id="145" creationId="{FD5ECB7E-D577-068D-E5FB-B13CF5B0EED1}"/>
          </ac:cxnSpMkLst>
        </pc:cxnChg>
        <pc:cxnChg chg="add mod">
          <ac:chgData name="Devraj, Keerthi (DI SW ICS DVT CSF DV FS)" userId="a61e6969-d85e-42d5-913e-c7fe6fb96353" providerId="ADAL" clId="{8D2B4F8B-645F-482E-A867-56D9A41DB3EB}" dt="2023-11-15T10:24:13.435" v="1742" actId="1076"/>
          <ac:cxnSpMkLst>
            <pc:docMk/>
            <pc:sldMk cId="1067733080" sldId="1223"/>
            <ac:cxnSpMk id="188" creationId="{9069D5FF-6743-E068-FF3F-5E163B9439D9}"/>
          </ac:cxnSpMkLst>
        </pc:cxnChg>
        <pc:cxnChg chg="add mod">
          <ac:chgData name="Devraj, Keerthi (DI SW ICS DVT CSF DV FS)" userId="a61e6969-d85e-42d5-913e-c7fe6fb96353" providerId="ADAL" clId="{8D2B4F8B-645F-482E-A867-56D9A41DB3EB}" dt="2023-11-15T11:55:29.832" v="2359" actId="1038"/>
          <ac:cxnSpMkLst>
            <pc:docMk/>
            <pc:sldMk cId="1067733080" sldId="1223"/>
            <ac:cxnSpMk id="191" creationId="{CC6FCECC-A26D-399D-61DC-FD682F168468}"/>
          </ac:cxnSpMkLst>
        </pc:cxnChg>
      </pc:sldChg>
      <pc:sldChg chg="addSp delSp modSp add mod">
        <pc:chgData name="Devraj, Keerthi (DI SW ICS DVT CSF DV FS)" userId="a61e6969-d85e-42d5-913e-c7fe6fb96353" providerId="ADAL" clId="{8D2B4F8B-645F-482E-A867-56D9A41DB3EB}" dt="2023-11-15T11:56:44.202" v="2376" actId="20577"/>
        <pc:sldMkLst>
          <pc:docMk/>
          <pc:sldMk cId="54858998" sldId="1224"/>
        </pc:sldMkLst>
        <pc:spChg chg="del">
          <ac:chgData name="Devraj, Keerthi (DI SW ICS DVT CSF DV FS)" userId="a61e6969-d85e-42d5-913e-c7fe6fb96353" providerId="ADAL" clId="{8D2B4F8B-645F-482E-A867-56D9A41DB3EB}" dt="2023-11-15T10:29:28.190" v="1817" actId="478"/>
          <ac:spMkLst>
            <pc:docMk/>
            <pc:sldMk cId="54858998" sldId="1224"/>
            <ac:spMk id="2" creationId="{D6F0FCDC-5CAA-9ADB-83ED-5FF1553AA8E9}"/>
          </ac:spMkLst>
        </pc:spChg>
        <pc:spChg chg="add del mod">
          <ac:chgData name="Devraj, Keerthi (DI SW ICS DVT CSF DV FS)" userId="a61e6969-d85e-42d5-913e-c7fe6fb96353" providerId="ADAL" clId="{8D2B4F8B-645F-482E-A867-56D9A41DB3EB}" dt="2023-11-15T10:30:45.115" v="1843" actId="478"/>
          <ac:spMkLst>
            <pc:docMk/>
            <pc:sldMk cId="54858998" sldId="1224"/>
            <ac:spMk id="4" creationId="{701BD0B2-70EE-D9B8-916C-4BF073242ACB}"/>
          </ac:spMkLst>
        </pc:spChg>
        <pc:spChg chg="mod">
          <ac:chgData name="Devraj, Keerthi (DI SW ICS DVT CSF DV FS)" userId="a61e6969-d85e-42d5-913e-c7fe6fb96353" providerId="ADAL" clId="{8D2B4F8B-645F-482E-A867-56D9A41DB3EB}" dt="2023-11-15T10:29:36.136" v="1833" actId="20577"/>
          <ac:spMkLst>
            <pc:docMk/>
            <pc:sldMk cId="54858998" sldId="1224"/>
            <ac:spMk id="5" creationId="{EBA48031-2E40-656E-AACD-45B10E861454}"/>
          </ac:spMkLst>
        </pc:spChg>
        <pc:spChg chg="mod">
          <ac:chgData name="Devraj, Keerthi (DI SW ICS DVT CSF DV FS)" userId="a61e6969-d85e-42d5-913e-c7fe6fb96353" providerId="ADAL" clId="{8D2B4F8B-645F-482E-A867-56D9A41DB3EB}" dt="2023-11-15T10:29:57.772" v="1834"/>
          <ac:spMkLst>
            <pc:docMk/>
            <pc:sldMk cId="54858998" sldId="1224"/>
            <ac:spMk id="7" creationId="{BEFDF51D-0EBD-3C30-F610-873BAA48B6D2}"/>
          </ac:spMkLst>
        </pc:spChg>
        <pc:spChg chg="mod">
          <ac:chgData name="Devraj, Keerthi (DI SW ICS DVT CSF DV FS)" userId="a61e6969-d85e-42d5-913e-c7fe6fb96353" providerId="ADAL" clId="{8D2B4F8B-645F-482E-A867-56D9A41DB3EB}" dt="2023-11-15T10:39:10.744" v="1975" actId="208"/>
          <ac:spMkLst>
            <pc:docMk/>
            <pc:sldMk cId="54858998" sldId="1224"/>
            <ac:spMk id="8" creationId="{E7D5B3FD-7322-9AB2-D172-254351E4A688}"/>
          </ac:spMkLst>
        </pc:spChg>
        <pc:spChg chg="mod">
          <ac:chgData name="Devraj, Keerthi (DI SW ICS DVT CSF DV FS)" userId="a61e6969-d85e-42d5-913e-c7fe6fb96353" providerId="ADAL" clId="{8D2B4F8B-645F-482E-A867-56D9A41DB3EB}" dt="2023-11-15T10:29:57.772" v="1834"/>
          <ac:spMkLst>
            <pc:docMk/>
            <pc:sldMk cId="54858998" sldId="1224"/>
            <ac:spMk id="14" creationId="{811DD6B9-16A3-64B4-44AF-C232ADEDE802}"/>
          </ac:spMkLst>
        </pc:spChg>
        <pc:spChg chg="mod">
          <ac:chgData name="Devraj, Keerthi (DI SW ICS DVT CSF DV FS)" userId="a61e6969-d85e-42d5-913e-c7fe6fb96353" providerId="ADAL" clId="{8D2B4F8B-645F-482E-A867-56D9A41DB3EB}" dt="2023-11-15T10:29:57.772" v="1834"/>
          <ac:spMkLst>
            <pc:docMk/>
            <pc:sldMk cId="54858998" sldId="1224"/>
            <ac:spMk id="18" creationId="{65754CC0-DC22-F197-9F7F-219E193D0BC6}"/>
          </ac:spMkLst>
        </pc:spChg>
        <pc:spChg chg="mod">
          <ac:chgData name="Devraj, Keerthi (DI SW ICS DVT CSF DV FS)" userId="a61e6969-d85e-42d5-913e-c7fe6fb96353" providerId="ADAL" clId="{8D2B4F8B-645F-482E-A867-56D9A41DB3EB}" dt="2023-11-15T10:29:57.772" v="1834"/>
          <ac:spMkLst>
            <pc:docMk/>
            <pc:sldMk cId="54858998" sldId="1224"/>
            <ac:spMk id="23" creationId="{F5816987-19CB-C5D1-CB9B-AFA9B0A360C9}"/>
          </ac:spMkLst>
        </pc:spChg>
        <pc:spChg chg="mod">
          <ac:chgData name="Devraj, Keerthi (DI SW ICS DVT CSF DV FS)" userId="a61e6969-d85e-42d5-913e-c7fe6fb96353" providerId="ADAL" clId="{8D2B4F8B-645F-482E-A867-56D9A41DB3EB}" dt="2023-11-15T10:29:57.772" v="1834"/>
          <ac:spMkLst>
            <pc:docMk/>
            <pc:sldMk cId="54858998" sldId="1224"/>
            <ac:spMk id="27" creationId="{F8BA19B9-B5D2-D5E1-7817-6B2420EDB3D4}"/>
          </ac:spMkLst>
        </pc:spChg>
        <pc:spChg chg="mod">
          <ac:chgData name="Devraj, Keerthi (DI SW ICS DVT CSF DV FS)" userId="a61e6969-d85e-42d5-913e-c7fe6fb96353" providerId="ADAL" clId="{8D2B4F8B-645F-482E-A867-56D9A41DB3EB}" dt="2023-11-15T10:30:28.506" v="1839" actId="207"/>
          <ac:spMkLst>
            <pc:docMk/>
            <pc:sldMk cId="54858998" sldId="1224"/>
            <ac:spMk id="28" creationId="{0F8315DB-B400-8626-530E-1A0116E7C103}"/>
          </ac:spMkLst>
        </pc:spChg>
        <pc:spChg chg="mod">
          <ac:chgData name="Devraj, Keerthi (DI SW ICS DVT CSF DV FS)" userId="a61e6969-d85e-42d5-913e-c7fe6fb96353" providerId="ADAL" clId="{8D2B4F8B-645F-482E-A867-56D9A41DB3EB}" dt="2023-11-15T10:29:57.772" v="1834"/>
          <ac:spMkLst>
            <pc:docMk/>
            <pc:sldMk cId="54858998" sldId="1224"/>
            <ac:spMk id="30" creationId="{F7F985EB-66EC-3952-324B-FE86E6BAF2B7}"/>
          </ac:spMkLst>
        </pc:spChg>
        <pc:spChg chg="mod">
          <ac:chgData name="Devraj, Keerthi (DI SW ICS DVT CSF DV FS)" userId="a61e6969-d85e-42d5-913e-c7fe6fb96353" providerId="ADAL" clId="{8D2B4F8B-645F-482E-A867-56D9A41DB3EB}" dt="2023-11-15T10:29:57.772" v="1834"/>
          <ac:spMkLst>
            <pc:docMk/>
            <pc:sldMk cId="54858998" sldId="1224"/>
            <ac:spMk id="98" creationId="{2B56464F-C486-6325-663E-9B73B7740659}"/>
          </ac:spMkLst>
        </pc:spChg>
        <pc:spChg chg="mod">
          <ac:chgData name="Devraj, Keerthi (DI SW ICS DVT CSF DV FS)" userId="a61e6969-d85e-42d5-913e-c7fe6fb96353" providerId="ADAL" clId="{8D2B4F8B-645F-482E-A867-56D9A41DB3EB}" dt="2023-11-15T10:29:57.772" v="1834"/>
          <ac:spMkLst>
            <pc:docMk/>
            <pc:sldMk cId="54858998" sldId="1224"/>
            <ac:spMk id="102" creationId="{CB7060A4-CBBE-EE34-81FB-653483BDAAE3}"/>
          </ac:spMkLst>
        </pc:spChg>
        <pc:spChg chg="mod">
          <ac:chgData name="Devraj, Keerthi (DI SW ICS DVT CSF DV FS)" userId="a61e6969-d85e-42d5-913e-c7fe6fb96353" providerId="ADAL" clId="{8D2B4F8B-645F-482E-A867-56D9A41DB3EB}" dt="2023-11-15T10:29:57.772" v="1834"/>
          <ac:spMkLst>
            <pc:docMk/>
            <pc:sldMk cId="54858998" sldId="1224"/>
            <ac:spMk id="104" creationId="{5CBFF0EC-B001-D494-7AF5-66E2EEE9E435}"/>
          </ac:spMkLst>
        </pc:spChg>
        <pc:spChg chg="mod">
          <ac:chgData name="Devraj, Keerthi (DI SW ICS DVT CSF DV FS)" userId="a61e6969-d85e-42d5-913e-c7fe6fb96353" providerId="ADAL" clId="{8D2B4F8B-645F-482E-A867-56D9A41DB3EB}" dt="2023-11-15T10:29:57.772" v="1834"/>
          <ac:spMkLst>
            <pc:docMk/>
            <pc:sldMk cId="54858998" sldId="1224"/>
            <ac:spMk id="108" creationId="{E2DB624C-7FB3-1417-014E-D3BB33677BAB}"/>
          </ac:spMkLst>
        </pc:spChg>
        <pc:spChg chg="mod">
          <ac:chgData name="Devraj, Keerthi (DI SW ICS DVT CSF DV FS)" userId="a61e6969-d85e-42d5-913e-c7fe6fb96353" providerId="ADAL" clId="{8D2B4F8B-645F-482E-A867-56D9A41DB3EB}" dt="2023-11-15T10:29:57.772" v="1834"/>
          <ac:spMkLst>
            <pc:docMk/>
            <pc:sldMk cId="54858998" sldId="1224"/>
            <ac:spMk id="115" creationId="{9580A542-C68A-0B43-CE05-4D97F4B1DFB8}"/>
          </ac:spMkLst>
        </pc:spChg>
        <pc:spChg chg="mod">
          <ac:chgData name="Devraj, Keerthi (DI SW ICS DVT CSF DV FS)" userId="a61e6969-d85e-42d5-913e-c7fe6fb96353" providerId="ADAL" clId="{8D2B4F8B-645F-482E-A867-56D9A41DB3EB}" dt="2023-11-15T10:29:57.772" v="1834"/>
          <ac:spMkLst>
            <pc:docMk/>
            <pc:sldMk cId="54858998" sldId="1224"/>
            <ac:spMk id="117" creationId="{5E549B17-026C-6C81-F9F3-3F2E0C6A5FE9}"/>
          </ac:spMkLst>
        </pc:spChg>
        <pc:spChg chg="mod">
          <ac:chgData name="Devraj, Keerthi (DI SW ICS DVT CSF DV FS)" userId="a61e6969-d85e-42d5-913e-c7fe6fb96353" providerId="ADAL" clId="{8D2B4F8B-645F-482E-A867-56D9A41DB3EB}" dt="2023-11-15T10:29:57.772" v="1834"/>
          <ac:spMkLst>
            <pc:docMk/>
            <pc:sldMk cId="54858998" sldId="1224"/>
            <ac:spMk id="121" creationId="{9CB2178A-C987-E6E2-0A26-43FB139AB6F3}"/>
          </ac:spMkLst>
        </pc:spChg>
        <pc:spChg chg="mod">
          <ac:chgData name="Devraj, Keerthi (DI SW ICS DVT CSF DV FS)" userId="a61e6969-d85e-42d5-913e-c7fe6fb96353" providerId="ADAL" clId="{8D2B4F8B-645F-482E-A867-56D9A41DB3EB}" dt="2023-11-15T10:29:57.772" v="1834"/>
          <ac:spMkLst>
            <pc:docMk/>
            <pc:sldMk cId="54858998" sldId="1224"/>
            <ac:spMk id="125" creationId="{141395D3-2360-FEAA-7FE3-ED66559D3CE6}"/>
          </ac:spMkLst>
        </pc:spChg>
        <pc:spChg chg="mod">
          <ac:chgData name="Devraj, Keerthi (DI SW ICS DVT CSF DV FS)" userId="a61e6969-d85e-42d5-913e-c7fe6fb96353" providerId="ADAL" clId="{8D2B4F8B-645F-482E-A867-56D9A41DB3EB}" dt="2023-11-15T10:29:57.772" v="1834"/>
          <ac:spMkLst>
            <pc:docMk/>
            <pc:sldMk cId="54858998" sldId="1224"/>
            <ac:spMk id="162" creationId="{0E573AF9-89F9-F8D1-D413-224B57625CE0}"/>
          </ac:spMkLst>
        </pc:spChg>
        <pc:spChg chg="mod">
          <ac:chgData name="Devraj, Keerthi (DI SW ICS DVT CSF DV FS)" userId="a61e6969-d85e-42d5-913e-c7fe6fb96353" providerId="ADAL" clId="{8D2B4F8B-645F-482E-A867-56D9A41DB3EB}" dt="2023-11-15T10:29:57.772" v="1834"/>
          <ac:spMkLst>
            <pc:docMk/>
            <pc:sldMk cId="54858998" sldId="1224"/>
            <ac:spMk id="166" creationId="{A6F9559F-E1FC-3235-D020-E47D1740BADC}"/>
          </ac:spMkLst>
        </pc:spChg>
        <pc:spChg chg="mod">
          <ac:chgData name="Devraj, Keerthi (DI SW ICS DVT CSF DV FS)" userId="a61e6969-d85e-42d5-913e-c7fe6fb96353" providerId="ADAL" clId="{8D2B4F8B-645F-482E-A867-56D9A41DB3EB}" dt="2023-11-15T10:30:34.577" v="1841" actId="207"/>
          <ac:spMkLst>
            <pc:docMk/>
            <pc:sldMk cId="54858998" sldId="1224"/>
            <ac:spMk id="167" creationId="{14D44732-7588-17BD-0647-01AA34F7931E}"/>
          </ac:spMkLst>
        </pc:spChg>
        <pc:spChg chg="mod">
          <ac:chgData name="Devraj, Keerthi (DI SW ICS DVT CSF DV FS)" userId="a61e6969-d85e-42d5-913e-c7fe6fb96353" providerId="ADAL" clId="{8D2B4F8B-645F-482E-A867-56D9A41DB3EB}" dt="2023-11-15T10:29:57.772" v="1834"/>
          <ac:spMkLst>
            <pc:docMk/>
            <pc:sldMk cId="54858998" sldId="1224"/>
            <ac:spMk id="172" creationId="{8D9CC67F-4E4A-8ED8-3CA7-30F6FD86AFF8}"/>
          </ac:spMkLst>
        </pc:spChg>
        <pc:spChg chg="mod">
          <ac:chgData name="Devraj, Keerthi (DI SW ICS DVT CSF DV FS)" userId="a61e6969-d85e-42d5-913e-c7fe6fb96353" providerId="ADAL" clId="{8D2B4F8B-645F-482E-A867-56D9A41DB3EB}" dt="2023-11-15T10:29:57.772" v="1834"/>
          <ac:spMkLst>
            <pc:docMk/>
            <pc:sldMk cId="54858998" sldId="1224"/>
            <ac:spMk id="176" creationId="{4508761D-3D1B-0C70-9D4A-918DA73D1E0A}"/>
          </ac:spMkLst>
        </pc:spChg>
        <pc:spChg chg="mod">
          <ac:chgData name="Devraj, Keerthi (DI SW ICS DVT CSF DV FS)" userId="a61e6969-d85e-42d5-913e-c7fe6fb96353" providerId="ADAL" clId="{8D2B4F8B-645F-482E-A867-56D9A41DB3EB}" dt="2023-11-15T10:30:31.714" v="1840" actId="207"/>
          <ac:spMkLst>
            <pc:docMk/>
            <pc:sldMk cId="54858998" sldId="1224"/>
            <ac:spMk id="177" creationId="{CF352F25-41CC-6213-D33C-3426D1302955}"/>
          </ac:spMkLst>
        </pc:spChg>
        <pc:spChg chg="add del mod">
          <ac:chgData name="Devraj, Keerthi (DI SW ICS DVT CSF DV FS)" userId="a61e6969-d85e-42d5-913e-c7fe6fb96353" providerId="ADAL" clId="{8D2B4F8B-645F-482E-A867-56D9A41DB3EB}" dt="2023-11-15T10:30:45.115" v="1843" actId="478"/>
          <ac:spMkLst>
            <pc:docMk/>
            <pc:sldMk cId="54858998" sldId="1224"/>
            <ac:spMk id="178" creationId="{CF603A3E-77D3-7CA6-5AB5-8E5BA85774EE}"/>
          </ac:spMkLst>
        </pc:spChg>
        <pc:spChg chg="add del mod">
          <ac:chgData name="Devraj, Keerthi (DI SW ICS DVT CSF DV FS)" userId="a61e6969-d85e-42d5-913e-c7fe6fb96353" providerId="ADAL" clId="{8D2B4F8B-645F-482E-A867-56D9A41DB3EB}" dt="2023-11-15T10:30:45.115" v="1843" actId="478"/>
          <ac:spMkLst>
            <pc:docMk/>
            <pc:sldMk cId="54858998" sldId="1224"/>
            <ac:spMk id="179" creationId="{3E7090B5-DBF3-F183-DD24-803E18DBD98F}"/>
          </ac:spMkLst>
        </pc:spChg>
        <pc:spChg chg="add del mod">
          <ac:chgData name="Devraj, Keerthi (DI SW ICS DVT CSF DV FS)" userId="a61e6969-d85e-42d5-913e-c7fe6fb96353" providerId="ADAL" clId="{8D2B4F8B-645F-482E-A867-56D9A41DB3EB}" dt="2023-11-15T10:30:45.115" v="1843" actId="478"/>
          <ac:spMkLst>
            <pc:docMk/>
            <pc:sldMk cId="54858998" sldId="1224"/>
            <ac:spMk id="180" creationId="{BCBB5214-6799-5E8E-65D7-14D51D205FFD}"/>
          </ac:spMkLst>
        </pc:spChg>
        <pc:spChg chg="add del mod">
          <ac:chgData name="Devraj, Keerthi (DI SW ICS DVT CSF DV FS)" userId="a61e6969-d85e-42d5-913e-c7fe6fb96353" providerId="ADAL" clId="{8D2B4F8B-645F-482E-A867-56D9A41DB3EB}" dt="2023-11-15T10:30:45.115" v="1843" actId="478"/>
          <ac:spMkLst>
            <pc:docMk/>
            <pc:sldMk cId="54858998" sldId="1224"/>
            <ac:spMk id="181" creationId="{69A18C7C-20BF-ADA4-51A8-73ABC2374452}"/>
          </ac:spMkLst>
        </pc:spChg>
        <pc:spChg chg="add del mod">
          <ac:chgData name="Devraj, Keerthi (DI SW ICS DVT CSF DV FS)" userId="a61e6969-d85e-42d5-913e-c7fe6fb96353" providerId="ADAL" clId="{8D2B4F8B-645F-482E-A867-56D9A41DB3EB}" dt="2023-11-15T10:30:45.115" v="1843" actId="478"/>
          <ac:spMkLst>
            <pc:docMk/>
            <pc:sldMk cId="54858998" sldId="1224"/>
            <ac:spMk id="182" creationId="{71BF7942-D2B0-97D9-88CD-D8DAE321102C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30:58.657" v="1845" actId="108"/>
          <ac:spMkLst>
            <pc:docMk/>
            <pc:sldMk cId="54858998" sldId="1224"/>
            <ac:spMk id="183" creationId="{1B1E8908-32C4-E4DD-AFDE-81B39608B394}"/>
          </ac:spMkLst>
        </pc:spChg>
        <pc:spChg chg="add mod">
          <ac:chgData name="Devraj, Keerthi (DI SW ICS DVT CSF DV FS)" userId="a61e6969-d85e-42d5-913e-c7fe6fb96353" providerId="ADAL" clId="{8D2B4F8B-645F-482E-A867-56D9A41DB3EB}" dt="2023-11-15T11:56:44.202" v="2376" actId="20577"/>
          <ac:spMkLst>
            <pc:docMk/>
            <pc:sldMk cId="54858998" sldId="1224"/>
            <ac:spMk id="184" creationId="{3466C72B-9362-2C80-2D3C-0D1F5AE4322D}"/>
          </ac:spMkLst>
        </pc:spChg>
        <pc:spChg chg="del">
          <ac:chgData name="Devraj, Keerthi (DI SW ICS DVT CSF DV FS)" userId="a61e6969-d85e-42d5-913e-c7fe6fb96353" providerId="ADAL" clId="{8D2B4F8B-645F-482E-A867-56D9A41DB3EB}" dt="2023-11-15T10:29:28.190" v="1817" actId="478"/>
          <ac:spMkLst>
            <pc:docMk/>
            <pc:sldMk cId="54858998" sldId="1224"/>
            <ac:spMk id="186" creationId="{E3D91B81-4756-288F-9B0F-EFF60C2DAA5C}"/>
          </ac:spMkLst>
        </pc:spChg>
        <pc:spChg chg="del">
          <ac:chgData name="Devraj, Keerthi (DI SW ICS DVT CSF DV FS)" userId="a61e6969-d85e-42d5-913e-c7fe6fb96353" providerId="ADAL" clId="{8D2B4F8B-645F-482E-A867-56D9A41DB3EB}" dt="2023-11-15T10:29:28.190" v="1817" actId="478"/>
          <ac:spMkLst>
            <pc:docMk/>
            <pc:sldMk cId="54858998" sldId="1224"/>
            <ac:spMk id="198" creationId="{E5781A9A-37F6-AF76-C2FF-5BC6E95FAB36}"/>
          </ac:spMkLst>
        </pc:spChg>
        <pc:grpChg chg="add del mod">
          <ac:chgData name="Devraj, Keerthi (DI SW ICS DVT CSF DV FS)" userId="a61e6969-d85e-42d5-913e-c7fe6fb96353" providerId="ADAL" clId="{8D2B4F8B-645F-482E-A867-56D9A41DB3EB}" dt="2023-11-15T10:30:45.115" v="1843" actId="478"/>
          <ac:grpSpMkLst>
            <pc:docMk/>
            <pc:sldMk cId="54858998" sldId="1224"/>
            <ac:grpSpMk id="6" creationId="{C346EE02-30FB-9B2D-4C6C-593240268A42}"/>
          </ac:grpSpMkLst>
        </pc:grpChg>
        <pc:grpChg chg="add del mod">
          <ac:chgData name="Devraj, Keerthi (DI SW ICS DVT CSF DV FS)" userId="a61e6969-d85e-42d5-913e-c7fe6fb96353" providerId="ADAL" clId="{8D2B4F8B-645F-482E-A867-56D9A41DB3EB}" dt="2023-11-15T10:30:45.115" v="1843" actId="478"/>
          <ac:grpSpMkLst>
            <pc:docMk/>
            <pc:sldMk cId="54858998" sldId="1224"/>
            <ac:grpSpMk id="19" creationId="{3B06FFB4-40B0-C7C5-3180-008C1F302FA6}"/>
          </ac:grpSpMkLst>
        </pc:grpChg>
        <pc:grpChg chg="add del mod">
          <ac:chgData name="Devraj, Keerthi (DI SW ICS DVT CSF DV FS)" userId="a61e6969-d85e-42d5-913e-c7fe6fb96353" providerId="ADAL" clId="{8D2B4F8B-645F-482E-A867-56D9A41DB3EB}" dt="2023-11-15T10:30:45.115" v="1843" actId="478"/>
          <ac:grpSpMkLst>
            <pc:docMk/>
            <pc:sldMk cId="54858998" sldId="1224"/>
            <ac:grpSpMk id="29" creationId="{B77117A1-4757-D787-A416-B48422813FAE}"/>
          </ac:grpSpMkLst>
        </pc:grpChg>
        <pc:grpChg chg="add del mod">
          <ac:chgData name="Devraj, Keerthi (DI SW ICS DVT CSF DV FS)" userId="a61e6969-d85e-42d5-913e-c7fe6fb96353" providerId="ADAL" clId="{8D2B4F8B-645F-482E-A867-56D9A41DB3EB}" dt="2023-11-15T10:30:45.115" v="1843" actId="478"/>
          <ac:grpSpMkLst>
            <pc:docMk/>
            <pc:sldMk cId="54858998" sldId="1224"/>
            <ac:grpSpMk id="103" creationId="{88374B27-7178-BBC3-847A-19E6C831DF1D}"/>
          </ac:grpSpMkLst>
        </pc:grpChg>
        <pc:grpChg chg="add del mod">
          <ac:chgData name="Devraj, Keerthi (DI SW ICS DVT CSF DV FS)" userId="a61e6969-d85e-42d5-913e-c7fe6fb96353" providerId="ADAL" clId="{8D2B4F8B-645F-482E-A867-56D9A41DB3EB}" dt="2023-11-15T10:30:45.115" v="1843" actId="478"/>
          <ac:grpSpMkLst>
            <pc:docMk/>
            <pc:sldMk cId="54858998" sldId="1224"/>
            <ac:grpSpMk id="116" creationId="{B0325F79-4BBC-61C8-F9B9-FA9D3F62CDC7}"/>
          </ac:grpSpMkLst>
        </pc:grpChg>
        <pc:grpChg chg="add del mod">
          <ac:chgData name="Devraj, Keerthi (DI SW ICS DVT CSF DV FS)" userId="a61e6969-d85e-42d5-913e-c7fe6fb96353" providerId="ADAL" clId="{8D2B4F8B-645F-482E-A867-56D9A41DB3EB}" dt="2023-11-15T10:30:45.115" v="1843" actId="478"/>
          <ac:grpSpMkLst>
            <pc:docMk/>
            <pc:sldMk cId="54858998" sldId="1224"/>
            <ac:grpSpMk id="126" creationId="{1283686E-19C7-FD68-6846-B0D20A52C799}"/>
          </ac:grpSpMkLst>
        </pc:grpChg>
        <pc:grpChg chg="add del mod">
          <ac:chgData name="Devraj, Keerthi (DI SW ICS DVT CSF DV FS)" userId="a61e6969-d85e-42d5-913e-c7fe6fb96353" providerId="ADAL" clId="{8D2B4F8B-645F-482E-A867-56D9A41DB3EB}" dt="2023-11-15T10:30:45.115" v="1843" actId="478"/>
          <ac:grpSpMkLst>
            <pc:docMk/>
            <pc:sldMk cId="54858998" sldId="1224"/>
            <ac:grpSpMk id="168" creationId="{E85DC437-D9F4-C520-D04E-CBF2855C572F}"/>
          </ac:grpSpMkLst>
        </pc:grpChg>
        <pc:cxnChg chg="mod">
          <ac:chgData name="Devraj, Keerthi (DI SW ICS DVT CSF DV FS)" userId="a61e6969-d85e-42d5-913e-c7fe6fb96353" providerId="ADAL" clId="{8D2B4F8B-645F-482E-A867-56D9A41DB3EB}" dt="2023-11-15T10:29:57.772" v="1834"/>
          <ac:cxnSpMkLst>
            <pc:docMk/>
            <pc:sldMk cId="54858998" sldId="1224"/>
            <ac:cxnSpMk id="11" creationId="{8D5E6CB8-5906-A8FB-BB22-589B90492288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29:57.772" v="1834"/>
          <ac:cxnSpMkLst>
            <pc:docMk/>
            <pc:sldMk cId="54858998" sldId="1224"/>
            <ac:cxnSpMk id="12" creationId="{450EC80D-3AF4-8B96-3214-B9E380694D8B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29:57.772" v="1834"/>
          <ac:cxnSpMkLst>
            <pc:docMk/>
            <pc:sldMk cId="54858998" sldId="1224"/>
            <ac:cxnSpMk id="13" creationId="{22B6D74D-02D2-19EA-C7E4-F21A64F23F00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29:57.772" v="1834"/>
          <ac:cxnSpMkLst>
            <pc:docMk/>
            <pc:sldMk cId="54858998" sldId="1224"/>
            <ac:cxnSpMk id="15" creationId="{2ED0F7C7-7001-C261-6E0C-1C25E1F2A5EB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29:57.772" v="1834"/>
          <ac:cxnSpMkLst>
            <pc:docMk/>
            <pc:sldMk cId="54858998" sldId="1224"/>
            <ac:cxnSpMk id="16" creationId="{656C58E7-952C-22C6-C561-3BDBD9AB9C20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29:57.772" v="1834"/>
          <ac:cxnSpMkLst>
            <pc:docMk/>
            <pc:sldMk cId="54858998" sldId="1224"/>
            <ac:cxnSpMk id="17" creationId="{67D91D30-8A3B-9FFC-2E68-408FEBDFAC53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29:57.772" v="1834"/>
          <ac:cxnSpMkLst>
            <pc:docMk/>
            <pc:sldMk cId="54858998" sldId="1224"/>
            <ac:cxnSpMk id="20" creationId="{5FEDDBD9-BDC8-FFB3-DF03-1B383A6A4C07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29:57.772" v="1834"/>
          <ac:cxnSpMkLst>
            <pc:docMk/>
            <pc:sldMk cId="54858998" sldId="1224"/>
            <ac:cxnSpMk id="21" creationId="{ABC0B784-3E01-307E-A012-2D3933E7EC44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29:57.772" v="1834"/>
          <ac:cxnSpMkLst>
            <pc:docMk/>
            <pc:sldMk cId="54858998" sldId="1224"/>
            <ac:cxnSpMk id="22" creationId="{DCB93F07-5AA3-8AAC-156C-DBCD4B26E9A3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29:57.772" v="1834"/>
          <ac:cxnSpMkLst>
            <pc:docMk/>
            <pc:sldMk cId="54858998" sldId="1224"/>
            <ac:cxnSpMk id="24" creationId="{DB91D46D-2C58-E745-06A1-19CDF7A40441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29:57.772" v="1834"/>
          <ac:cxnSpMkLst>
            <pc:docMk/>
            <pc:sldMk cId="54858998" sldId="1224"/>
            <ac:cxnSpMk id="25" creationId="{7E949C69-CDE5-CE13-E536-3092443F736B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29:57.772" v="1834"/>
          <ac:cxnSpMkLst>
            <pc:docMk/>
            <pc:sldMk cId="54858998" sldId="1224"/>
            <ac:cxnSpMk id="26" creationId="{122DDE09-AD53-D928-AB4B-7AF0E82DC794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29:57.772" v="1834"/>
          <ac:cxnSpMkLst>
            <pc:docMk/>
            <pc:sldMk cId="54858998" sldId="1224"/>
            <ac:cxnSpMk id="31" creationId="{0F93C541-03A3-79BC-935F-AA0F524C13EC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29:57.772" v="1834"/>
          <ac:cxnSpMkLst>
            <pc:docMk/>
            <pc:sldMk cId="54858998" sldId="1224"/>
            <ac:cxnSpMk id="96" creationId="{ADF91798-9812-89F4-13A4-862C2F9EDD13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29:57.772" v="1834"/>
          <ac:cxnSpMkLst>
            <pc:docMk/>
            <pc:sldMk cId="54858998" sldId="1224"/>
            <ac:cxnSpMk id="97" creationId="{78133CFE-DD32-0263-B2AE-EE205CD6EC17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29:57.772" v="1834"/>
          <ac:cxnSpMkLst>
            <pc:docMk/>
            <pc:sldMk cId="54858998" sldId="1224"/>
            <ac:cxnSpMk id="99" creationId="{5B19D4B2-9184-9A19-45F9-94BF6033CD1E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29:57.772" v="1834"/>
          <ac:cxnSpMkLst>
            <pc:docMk/>
            <pc:sldMk cId="54858998" sldId="1224"/>
            <ac:cxnSpMk id="100" creationId="{FE2FE3D9-3DCB-CB8E-6073-9578F18C9D0F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29:57.772" v="1834"/>
          <ac:cxnSpMkLst>
            <pc:docMk/>
            <pc:sldMk cId="54858998" sldId="1224"/>
            <ac:cxnSpMk id="101" creationId="{2470724D-B1CE-5DFF-9ABE-414A6CF2DE9E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29:57.772" v="1834"/>
          <ac:cxnSpMkLst>
            <pc:docMk/>
            <pc:sldMk cId="54858998" sldId="1224"/>
            <ac:cxnSpMk id="105" creationId="{0C26B8C4-5DC4-019F-DDFD-B8C742310111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29:57.772" v="1834"/>
          <ac:cxnSpMkLst>
            <pc:docMk/>
            <pc:sldMk cId="54858998" sldId="1224"/>
            <ac:cxnSpMk id="106" creationId="{7684C1E2-E563-CAC9-3379-876D9C2331BF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29:57.772" v="1834"/>
          <ac:cxnSpMkLst>
            <pc:docMk/>
            <pc:sldMk cId="54858998" sldId="1224"/>
            <ac:cxnSpMk id="107" creationId="{99DE4263-FAED-2D9D-F9C4-1AA33C1A5132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29:57.772" v="1834"/>
          <ac:cxnSpMkLst>
            <pc:docMk/>
            <pc:sldMk cId="54858998" sldId="1224"/>
            <ac:cxnSpMk id="109" creationId="{FE9939F0-D97E-D289-60E9-90DEBCB0E719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29:57.772" v="1834"/>
          <ac:cxnSpMkLst>
            <pc:docMk/>
            <pc:sldMk cId="54858998" sldId="1224"/>
            <ac:cxnSpMk id="110" creationId="{1F1539FA-6875-B539-B519-8E9CE163C7F7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29:57.772" v="1834"/>
          <ac:cxnSpMkLst>
            <pc:docMk/>
            <pc:sldMk cId="54858998" sldId="1224"/>
            <ac:cxnSpMk id="111" creationId="{C3A62263-62F8-9A7D-39B3-919CA7848566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29:57.772" v="1834"/>
          <ac:cxnSpMkLst>
            <pc:docMk/>
            <pc:sldMk cId="54858998" sldId="1224"/>
            <ac:cxnSpMk id="118" creationId="{A659DFCD-4C14-D853-B1A9-1FD4449EDAE5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29:57.772" v="1834"/>
          <ac:cxnSpMkLst>
            <pc:docMk/>
            <pc:sldMk cId="54858998" sldId="1224"/>
            <ac:cxnSpMk id="119" creationId="{38B4A99D-CA69-C716-DB42-1A5AD4BD2B9B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29:57.772" v="1834"/>
          <ac:cxnSpMkLst>
            <pc:docMk/>
            <pc:sldMk cId="54858998" sldId="1224"/>
            <ac:cxnSpMk id="120" creationId="{C368FF75-FFB0-75C3-3C2E-962EE2C38012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29:57.772" v="1834"/>
          <ac:cxnSpMkLst>
            <pc:docMk/>
            <pc:sldMk cId="54858998" sldId="1224"/>
            <ac:cxnSpMk id="122" creationId="{D1442581-0A75-35AB-2979-396BEC7B5DD2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29:57.772" v="1834"/>
          <ac:cxnSpMkLst>
            <pc:docMk/>
            <pc:sldMk cId="54858998" sldId="1224"/>
            <ac:cxnSpMk id="123" creationId="{132E8E58-5CD4-8FEE-DC4D-12AE039DEDCE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29:57.772" v="1834"/>
          <ac:cxnSpMkLst>
            <pc:docMk/>
            <pc:sldMk cId="54858998" sldId="1224"/>
            <ac:cxnSpMk id="124" creationId="{00151D33-80B8-39E9-1F45-2C635DC70576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29:57.772" v="1834"/>
          <ac:cxnSpMkLst>
            <pc:docMk/>
            <pc:sldMk cId="54858998" sldId="1224"/>
            <ac:cxnSpMk id="127" creationId="{CAA444F7-50ED-875E-5F44-5A77A11D1212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29:57.772" v="1834"/>
          <ac:cxnSpMkLst>
            <pc:docMk/>
            <pc:sldMk cId="54858998" sldId="1224"/>
            <ac:cxnSpMk id="160" creationId="{D8FD6134-8D06-9227-2B61-9C23A3541394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29:57.772" v="1834"/>
          <ac:cxnSpMkLst>
            <pc:docMk/>
            <pc:sldMk cId="54858998" sldId="1224"/>
            <ac:cxnSpMk id="161" creationId="{E7163132-9A87-0C95-5347-00C5063B8D58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29:57.772" v="1834"/>
          <ac:cxnSpMkLst>
            <pc:docMk/>
            <pc:sldMk cId="54858998" sldId="1224"/>
            <ac:cxnSpMk id="163" creationId="{FD32D115-5982-690D-5150-13B0AF254FFD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29:57.772" v="1834"/>
          <ac:cxnSpMkLst>
            <pc:docMk/>
            <pc:sldMk cId="54858998" sldId="1224"/>
            <ac:cxnSpMk id="164" creationId="{FECC0F5B-5817-7BC3-72AF-6BE44B0611EB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29:57.772" v="1834"/>
          <ac:cxnSpMkLst>
            <pc:docMk/>
            <pc:sldMk cId="54858998" sldId="1224"/>
            <ac:cxnSpMk id="165" creationId="{F2B6BAB1-2FA5-D3E1-CBE3-54862699631E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29:57.772" v="1834"/>
          <ac:cxnSpMkLst>
            <pc:docMk/>
            <pc:sldMk cId="54858998" sldId="1224"/>
            <ac:cxnSpMk id="169" creationId="{1495DDF2-5649-15C3-B2F8-017FD3AA5A19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29:57.772" v="1834"/>
          <ac:cxnSpMkLst>
            <pc:docMk/>
            <pc:sldMk cId="54858998" sldId="1224"/>
            <ac:cxnSpMk id="170" creationId="{031EF4D3-4EFB-69E3-9042-CA35FB07E72A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29:57.772" v="1834"/>
          <ac:cxnSpMkLst>
            <pc:docMk/>
            <pc:sldMk cId="54858998" sldId="1224"/>
            <ac:cxnSpMk id="171" creationId="{FF5C1A94-FAA1-6144-F5CF-E47B1EF53599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29:57.772" v="1834"/>
          <ac:cxnSpMkLst>
            <pc:docMk/>
            <pc:sldMk cId="54858998" sldId="1224"/>
            <ac:cxnSpMk id="173" creationId="{850E2079-27B8-0AD6-575F-AFCD93F9C4D7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29:57.772" v="1834"/>
          <ac:cxnSpMkLst>
            <pc:docMk/>
            <pc:sldMk cId="54858998" sldId="1224"/>
            <ac:cxnSpMk id="174" creationId="{F9916A3B-6311-F977-507F-662EB7FAD973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29:57.772" v="1834"/>
          <ac:cxnSpMkLst>
            <pc:docMk/>
            <pc:sldMk cId="54858998" sldId="1224"/>
            <ac:cxnSpMk id="175" creationId="{2CBABEE4-6101-65D5-44AA-8A0B076F012B}"/>
          </ac:cxnSpMkLst>
        </pc:cxnChg>
        <pc:cxnChg chg="del">
          <ac:chgData name="Devraj, Keerthi (DI SW ICS DVT CSF DV FS)" userId="a61e6969-d85e-42d5-913e-c7fe6fb96353" providerId="ADAL" clId="{8D2B4F8B-645F-482E-A867-56D9A41DB3EB}" dt="2023-11-15T10:29:29.898" v="1818" actId="478"/>
          <ac:cxnSpMkLst>
            <pc:docMk/>
            <pc:sldMk cId="54858998" sldId="1224"/>
            <ac:cxnSpMk id="188" creationId="{9069D5FF-6743-E068-FF3F-5E163B9439D9}"/>
          </ac:cxnSpMkLst>
        </pc:cxnChg>
        <pc:cxnChg chg="del">
          <ac:chgData name="Devraj, Keerthi (DI SW ICS DVT CSF DV FS)" userId="a61e6969-d85e-42d5-913e-c7fe6fb96353" providerId="ADAL" clId="{8D2B4F8B-645F-482E-A867-56D9A41DB3EB}" dt="2023-11-15T10:29:28.190" v="1817" actId="478"/>
          <ac:cxnSpMkLst>
            <pc:docMk/>
            <pc:sldMk cId="54858998" sldId="1224"/>
            <ac:cxnSpMk id="191" creationId="{CC6FCECC-A26D-399D-61DC-FD682F168468}"/>
          </ac:cxnSpMkLst>
        </pc:cxnChg>
      </pc:sldChg>
      <pc:sldChg chg="addSp modSp add mod">
        <pc:chgData name="Devraj, Keerthi (DI SW ICS DVT CSF DV FS)" userId="a61e6969-d85e-42d5-913e-c7fe6fb96353" providerId="ADAL" clId="{8D2B4F8B-645F-482E-A867-56D9A41DB3EB}" dt="2023-11-15T10:39:14.312" v="1976" actId="208"/>
        <pc:sldMkLst>
          <pc:docMk/>
          <pc:sldMk cId="1175154319" sldId="1225"/>
        </pc:sldMkLst>
        <pc:spChg chg="add mod">
          <ac:chgData name="Devraj, Keerthi (DI SW ICS DVT CSF DV FS)" userId="a61e6969-d85e-42d5-913e-c7fe6fb96353" providerId="ADAL" clId="{8D2B4F8B-645F-482E-A867-56D9A41DB3EB}" dt="2023-11-15T10:32:40.539" v="1860" actId="6549"/>
          <ac:spMkLst>
            <pc:docMk/>
            <pc:sldMk cId="1175154319" sldId="1225"/>
            <ac:spMk id="2" creationId="{6B7D93D2-0B1D-4121-D195-58967408EEB6}"/>
          </ac:spMkLst>
        </pc:spChg>
        <pc:spChg chg="mod">
          <ac:chgData name="Devraj, Keerthi (DI SW ICS DVT CSF DV FS)" userId="a61e6969-d85e-42d5-913e-c7fe6fb96353" providerId="ADAL" clId="{8D2B4F8B-645F-482E-A867-56D9A41DB3EB}" dt="2023-11-15T10:39:14.312" v="1976" actId="208"/>
          <ac:spMkLst>
            <pc:docMk/>
            <pc:sldMk cId="1175154319" sldId="1225"/>
            <ac:spMk id="8" creationId="{E7D5B3FD-7322-9AB2-D172-254351E4A688}"/>
          </ac:spMkLst>
        </pc:spChg>
      </pc:sldChg>
      <pc:sldChg chg="addSp delSp modSp add mod">
        <pc:chgData name="Devraj, Keerthi (DI SW ICS DVT CSF DV FS)" userId="a61e6969-d85e-42d5-913e-c7fe6fb96353" providerId="ADAL" clId="{8D2B4F8B-645F-482E-A867-56D9A41DB3EB}" dt="2023-11-15T10:39:17.002" v="1977" actId="208"/>
        <pc:sldMkLst>
          <pc:docMk/>
          <pc:sldMk cId="3831025926" sldId="1226"/>
        </pc:sldMkLst>
        <pc:spChg chg="mod">
          <ac:chgData name="Devraj, Keerthi (DI SW ICS DVT CSF DV FS)" userId="a61e6969-d85e-42d5-913e-c7fe6fb96353" providerId="ADAL" clId="{8D2B4F8B-645F-482E-A867-56D9A41DB3EB}" dt="2023-11-15T10:36:05.711" v="1949" actId="6549"/>
          <ac:spMkLst>
            <pc:docMk/>
            <pc:sldMk cId="3831025926" sldId="1226"/>
            <ac:spMk id="2" creationId="{6B7D93D2-0B1D-4121-D195-58967408EEB6}"/>
          </ac:spMkLst>
        </pc:spChg>
        <pc:spChg chg="del">
          <ac:chgData name="Devraj, Keerthi (DI SW ICS DVT CSF DV FS)" userId="a61e6969-d85e-42d5-913e-c7fe6fb96353" providerId="ADAL" clId="{8D2B4F8B-645F-482E-A867-56D9A41DB3EB}" dt="2023-11-15T10:33:25.601" v="1862" actId="478"/>
          <ac:spMkLst>
            <pc:docMk/>
            <pc:sldMk cId="3831025926" sldId="1226"/>
            <ac:spMk id="4" creationId="{701BD0B2-70EE-D9B8-916C-4BF073242ACB}"/>
          </ac:spMkLst>
        </pc:spChg>
        <pc:spChg chg="mod">
          <ac:chgData name="Devraj, Keerthi (DI SW ICS DVT CSF DV FS)" userId="a61e6969-d85e-42d5-913e-c7fe6fb96353" providerId="ADAL" clId="{8D2B4F8B-645F-482E-A867-56D9A41DB3EB}" dt="2023-11-15T10:39:17.002" v="1977" actId="208"/>
          <ac:spMkLst>
            <pc:docMk/>
            <pc:sldMk cId="3831025926" sldId="1226"/>
            <ac:spMk id="8" creationId="{E7D5B3FD-7322-9AB2-D172-254351E4A688}"/>
          </ac:spMkLst>
        </pc:spChg>
        <pc:spChg chg="del">
          <ac:chgData name="Devraj, Keerthi (DI SW ICS DVT CSF DV FS)" userId="a61e6969-d85e-42d5-913e-c7fe6fb96353" providerId="ADAL" clId="{8D2B4F8B-645F-482E-A867-56D9A41DB3EB}" dt="2023-11-15T10:33:25.601" v="1862" actId="478"/>
          <ac:spMkLst>
            <pc:docMk/>
            <pc:sldMk cId="3831025926" sldId="1226"/>
            <ac:spMk id="178" creationId="{CF603A3E-77D3-7CA6-5AB5-8E5BA85774EE}"/>
          </ac:spMkLst>
        </pc:spChg>
        <pc:spChg chg="del">
          <ac:chgData name="Devraj, Keerthi (DI SW ICS DVT CSF DV FS)" userId="a61e6969-d85e-42d5-913e-c7fe6fb96353" providerId="ADAL" clId="{8D2B4F8B-645F-482E-A867-56D9A41DB3EB}" dt="2023-11-15T10:33:25.601" v="1862" actId="478"/>
          <ac:spMkLst>
            <pc:docMk/>
            <pc:sldMk cId="3831025926" sldId="1226"/>
            <ac:spMk id="179" creationId="{3E7090B5-DBF3-F183-DD24-803E18DBD98F}"/>
          </ac:spMkLst>
        </pc:spChg>
        <pc:spChg chg="del">
          <ac:chgData name="Devraj, Keerthi (DI SW ICS DVT CSF DV FS)" userId="a61e6969-d85e-42d5-913e-c7fe6fb96353" providerId="ADAL" clId="{8D2B4F8B-645F-482E-A867-56D9A41DB3EB}" dt="2023-11-15T10:33:25.601" v="1862" actId="478"/>
          <ac:spMkLst>
            <pc:docMk/>
            <pc:sldMk cId="3831025926" sldId="1226"/>
            <ac:spMk id="180" creationId="{BCBB5214-6799-5E8E-65D7-14D51D205FFD}"/>
          </ac:spMkLst>
        </pc:spChg>
        <pc:spChg chg="del">
          <ac:chgData name="Devraj, Keerthi (DI SW ICS DVT CSF DV FS)" userId="a61e6969-d85e-42d5-913e-c7fe6fb96353" providerId="ADAL" clId="{8D2B4F8B-645F-482E-A867-56D9A41DB3EB}" dt="2023-11-15T10:33:25.601" v="1862" actId="478"/>
          <ac:spMkLst>
            <pc:docMk/>
            <pc:sldMk cId="3831025926" sldId="1226"/>
            <ac:spMk id="181" creationId="{69A18C7C-20BF-ADA4-51A8-73ABC2374452}"/>
          </ac:spMkLst>
        </pc:spChg>
        <pc:spChg chg="del">
          <ac:chgData name="Devraj, Keerthi (DI SW ICS DVT CSF DV FS)" userId="a61e6969-d85e-42d5-913e-c7fe6fb96353" providerId="ADAL" clId="{8D2B4F8B-645F-482E-A867-56D9A41DB3EB}" dt="2023-11-15T10:33:25.601" v="1862" actId="478"/>
          <ac:spMkLst>
            <pc:docMk/>
            <pc:sldMk cId="3831025926" sldId="1226"/>
            <ac:spMk id="182" creationId="{71BF7942-D2B0-97D9-88CD-D8DAE321102C}"/>
          </ac:spMkLst>
        </pc:spChg>
        <pc:spChg chg="mod">
          <ac:chgData name="Devraj, Keerthi (DI SW ICS DVT CSF DV FS)" userId="a61e6969-d85e-42d5-913e-c7fe6fb96353" providerId="ADAL" clId="{8D2B4F8B-645F-482E-A867-56D9A41DB3EB}" dt="2023-11-15T10:33:26.655" v="1863"/>
          <ac:spMkLst>
            <pc:docMk/>
            <pc:sldMk cId="3831025926" sldId="1226"/>
            <ac:spMk id="184" creationId="{E9C290E5-E1C1-1426-D3A2-D09688770907}"/>
          </ac:spMkLst>
        </pc:spChg>
        <pc:spChg chg="mod">
          <ac:chgData name="Devraj, Keerthi (DI SW ICS DVT CSF DV FS)" userId="a61e6969-d85e-42d5-913e-c7fe6fb96353" providerId="ADAL" clId="{8D2B4F8B-645F-482E-A867-56D9A41DB3EB}" dt="2023-11-15T10:33:26.655" v="1863"/>
          <ac:spMkLst>
            <pc:docMk/>
            <pc:sldMk cId="3831025926" sldId="1226"/>
            <ac:spMk id="188" creationId="{F1AC3B9F-EF93-43CB-12EF-7BCB2FD1E6BE}"/>
          </ac:spMkLst>
        </pc:spChg>
        <pc:spChg chg="mod">
          <ac:chgData name="Devraj, Keerthi (DI SW ICS DVT CSF DV FS)" userId="a61e6969-d85e-42d5-913e-c7fe6fb96353" providerId="ADAL" clId="{8D2B4F8B-645F-482E-A867-56D9A41DB3EB}" dt="2023-11-15T10:33:26.655" v="1863"/>
          <ac:spMkLst>
            <pc:docMk/>
            <pc:sldMk cId="3831025926" sldId="1226"/>
            <ac:spMk id="192" creationId="{F2CC6DDE-52A6-67E1-FB1D-DEF6D4F49EBD}"/>
          </ac:spMkLst>
        </pc:spChg>
        <pc:spChg chg="mod">
          <ac:chgData name="Devraj, Keerthi (DI SW ICS DVT CSF DV FS)" userId="a61e6969-d85e-42d5-913e-c7fe6fb96353" providerId="ADAL" clId="{8D2B4F8B-645F-482E-A867-56D9A41DB3EB}" dt="2023-11-15T10:33:26.655" v="1863"/>
          <ac:spMkLst>
            <pc:docMk/>
            <pc:sldMk cId="3831025926" sldId="1226"/>
            <ac:spMk id="194" creationId="{4D34D0AA-8C2C-D27E-3002-AB35F9C962C1}"/>
          </ac:spMkLst>
        </pc:spChg>
        <pc:spChg chg="mod">
          <ac:chgData name="Devraj, Keerthi (DI SW ICS DVT CSF DV FS)" userId="a61e6969-d85e-42d5-913e-c7fe6fb96353" providerId="ADAL" clId="{8D2B4F8B-645F-482E-A867-56D9A41DB3EB}" dt="2023-11-15T10:33:26.655" v="1863"/>
          <ac:spMkLst>
            <pc:docMk/>
            <pc:sldMk cId="3831025926" sldId="1226"/>
            <ac:spMk id="198" creationId="{D0C84E9A-B836-B71D-4953-B329036EC438}"/>
          </ac:spMkLst>
        </pc:spChg>
        <pc:spChg chg="mod">
          <ac:chgData name="Devraj, Keerthi (DI SW ICS DVT CSF DV FS)" userId="a61e6969-d85e-42d5-913e-c7fe6fb96353" providerId="ADAL" clId="{8D2B4F8B-645F-482E-A867-56D9A41DB3EB}" dt="2023-11-15T10:33:26.655" v="1863"/>
          <ac:spMkLst>
            <pc:docMk/>
            <pc:sldMk cId="3831025926" sldId="1226"/>
            <ac:spMk id="202" creationId="{33CF3669-34A4-32EB-0465-464731981999}"/>
          </ac:spMkLst>
        </pc:spChg>
        <pc:spChg chg="mod">
          <ac:chgData name="Devraj, Keerthi (DI SW ICS DVT CSF DV FS)" userId="a61e6969-d85e-42d5-913e-c7fe6fb96353" providerId="ADAL" clId="{8D2B4F8B-645F-482E-A867-56D9A41DB3EB}" dt="2023-11-15T10:33:26.655" v="1863"/>
          <ac:spMkLst>
            <pc:docMk/>
            <pc:sldMk cId="3831025926" sldId="1226"/>
            <ac:spMk id="204" creationId="{D87DB8E8-E406-7657-086D-1624813E7625}"/>
          </ac:spMkLst>
        </pc:spChg>
        <pc:spChg chg="mod">
          <ac:chgData name="Devraj, Keerthi (DI SW ICS DVT CSF DV FS)" userId="a61e6969-d85e-42d5-913e-c7fe6fb96353" providerId="ADAL" clId="{8D2B4F8B-645F-482E-A867-56D9A41DB3EB}" dt="2023-11-15T10:33:26.655" v="1863"/>
          <ac:spMkLst>
            <pc:docMk/>
            <pc:sldMk cId="3831025926" sldId="1226"/>
            <ac:spMk id="208" creationId="{C86ACB2E-14C2-E305-D145-AFDAD9CC4323}"/>
          </ac:spMkLst>
        </pc:spChg>
        <pc:spChg chg="mod">
          <ac:chgData name="Devraj, Keerthi (DI SW ICS DVT CSF DV FS)" userId="a61e6969-d85e-42d5-913e-c7fe6fb96353" providerId="ADAL" clId="{8D2B4F8B-645F-482E-A867-56D9A41DB3EB}" dt="2023-11-15T10:33:26.655" v="1863"/>
          <ac:spMkLst>
            <pc:docMk/>
            <pc:sldMk cId="3831025926" sldId="1226"/>
            <ac:spMk id="212" creationId="{8C25472C-EBD5-62C3-FDAF-1300C71FB828}"/>
          </ac:spMkLst>
        </pc:spChg>
        <pc:spChg chg="add mod ord">
          <ac:chgData name="Devraj, Keerthi (DI SW ICS DVT CSF DV FS)" userId="a61e6969-d85e-42d5-913e-c7fe6fb96353" providerId="ADAL" clId="{8D2B4F8B-645F-482E-A867-56D9A41DB3EB}" dt="2023-11-15T10:33:37.840" v="1865" actId="167"/>
          <ac:spMkLst>
            <pc:docMk/>
            <pc:sldMk cId="3831025926" sldId="1226"/>
            <ac:spMk id="213" creationId="{2637D0AB-7534-A86C-83B1-B95152AA3EC5}"/>
          </ac:spMkLst>
        </pc:spChg>
        <pc:spChg chg="mod">
          <ac:chgData name="Devraj, Keerthi (DI SW ICS DVT CSF DV FS)" userId="a61e6969-d85e-42d5-913e-c7fe6fb96353" providerId="ADAL" clId="{8D2B4F8B-645F-482E-A867-56D9A41DB3EB}" dt="2023-11-15T10:33:26.655" v="1863"/>
          <ac:spMkLst>
            <pc:docMk/>
            <pc:sldMk cId="3831025926" sldId="1226"/>
            <ac:spMk id="215" creationId="{77E52F99-71FD-9B59-0B55-A9700116D6BB}"/>
          </ac:spMkLst>
        </pc:spChg>
        <pc:spChg chg="mod">
          <ac:chgData name="Devraj, Keerthi (DI SW ICS DVT CSF DV FS)" userId="a61e6969-d85e-42d5-913e-c7fe6fb96353" providerId="ADAL" clId="{8D2B4F8B-645F-482E-A867-56D9A41DB3EB}" dt="2023-11-15T10:33:26.655" v="1863"/>
          <ac:spMkLst>
            <pc:docMk/>
            <pc:sldMk cId="3831025926" sldId="1226"/>
            <ac:spMk id="219" creationId="{C83ED6EE-62C9-53D2-7E1F-DCA26E8ED92A}"/>
          </ac:spMkLst>
        </pc:spChg>
        <pc:spChg chg="mod">
          <ac:chgData name="Devraj, Keerthi (DI SW ICS DVT CSF DV FS)" userId="a61e6969-d85e-42d5-913e-c7fe6fb96353" providerId="ADAL" clId="{8D2B4F8B-645F-482E-A867-56D9A41DB3EB}" dt="2023-11-15T10:33:26.655" v="1863"/>
          <ac:spMkLst>
            <pc:docMk/>
            <pc:sldMk cId="3831025926" sldId="1226"/>
            <ac:spMk id="223" creationId="{7F530832-3E37-FA97-E15F-CD70CF31CFEE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33:26.655" v="1863"/>
          <ac:spMkLst>
            <pc:docMk/>
            <pc:sldMk cId="3831025926" sldId="1226"/>
            <ac:spMk id="227" creationId="{460BAB2A-E5B5-DF05-C160-142200684963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33:26.655" v="1863"/>
          <ac:spMkLst>
            <pc:docMk/>
            <pc:sldMk cId="3831025926" sldId="1226"/>
            <ac:spMk id="231" creationId="{4CC5C78C-B261-8EE2-1CE8-DE41E3B54200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33:26.655" v="1863"/>
          <ac:spMkLst>
            <pc:docMk/>
            <pc:sldMk cId="3831025926" sldId="1226"/>
            <ac:spMk id="232" creationId="{E5C368C8-2CB3-7F58-3E91-4D2D01841D80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33:26.655" v="1863"/>
          <ac:spMkLst>
            <pc:docMk/>
            <pc:sldMk cId="3831025926" sldId="1226"/>
            <ac:spMk id="233" creationId="{F1A039E5-5431-7229-7AA2-25A05912DD38}"/>
          </ac:spMkLst>
        </pc:spChg>
        <pc:spChg chg="mod">
          <ac:chgData name="Devraj, Keerthi (DI SW ICS DVT CSF DV FS)" userId="a61e6969-d85e-42d5-913e-c7fe6fb96353" providerId="ADAL" clId="{8D2B4F8B-645F-482E-A867-56D9A41DB3EB}" dt="2023-11-15T10:36:27.317" v="1950" actId="207"/>
          <ac:spMkLst>
            <pc:docMk/>
            <pc:sldMk cId="3831025926" sldId="1226"/>
            <ac:spMk id="244" creationId="{F4F99928-2AFA-54EE-7A1D-44153976BB3E}"/>
          </ac:spMkLst>
        </pc:spChg>
        <pc:spChg chg="mod">
          <ac:chgData name="Devraj, Keerthi (DI SW ICS DVT CSF DV FS)" userId="a61e6969-d85e-42d5-913e-c7fe6fb96353" providerId="ADAL" clId="{8D2B4F8B-645F-482E-A867-56D9A41DB3EB}" dt="2023-11-15T10:33:26.655" v="1863"/>
          <ac:spMkLst>
            <pc:docMk/>
            <pc:sldMk cId="3831025926" sldId="1226"/>
            <ac:spMk id="248" creationId="{9273F12E-71C5-8C0E-121B-D0732E78B462}"/>
          </ac:spMkLst>
        </pc:spChg>
        <pc:spChg chg="mod">
          <ac:chgData name="Devraj, Keerthi (DI SW ICS DVT CSF DV FS)" userId="a61e6969-d85e-42d5-913e-c7fe6fb96353" providerId="ADAL" clId="{8D2B4F8B-645F-482E-A867-56D9A41DB3EB}" dt="2023-11-15T10:33:26.655" v="1863"/>
          <ac:spMkLst>
            <pc:docMk/>
            <pc:sldMk cId="3831025926" sldId="1226"/>
            <ac:spMk id="252" creationId="{2A533A59-790E-AC7E-EAEA-404EB73E3C68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36:31.454" v="1951" actId="207"/>
          <ac:spMkLst>
            <pc:docMk/>
            <pc:sldMk cId="3831025926" sldId="1226"/>
            <ac:spMk id="253" creationId="{9FA82B89-4038-2972-1CDF-8BCE4C106F86}"/>
          </ac:spMkLst>
        </pc:spChg>
        <pc:spChg chg="mod">
          <ac:chgData name="Devraj, Keerthi (DI SW ICS DVT CSF DV FS)" userId="a61e6969-d85e-42d5-913e-c7fe6fb96353" providerId="ADAL" clId="{8D2B4F8B-645F-482E-A867-56D9A41DB3EB}" dt="2023-11-15T10:33:26.655" v="1863"/>
          <ac:spMkLst>
            <pc:docMk/>
            <pc:sldMk cId="3831025926" sldId="1226"/>
            <ac:spMk id="258" creationId="{5B8919A4-60C4-0BE3-0D0F-F66FF0D089CF}"/>
          </ac:spMkLst>
        </pc:spChg>
        <pc:spChg chg="mod">
          <ac:chgData name="Devraj, Keerthi (DI SW ICS DVT CSF DV FS)" userId="a61e6969-d85e-42d5-913e-c7fe6fb96353" providerId="ADAL" clId="{8D2B4F8B-645F-482E-A867-56D9A41DB3EB}" dt="2023-11-15T10:33:26.655" v="1863"/>
          <ac:spMkLst>
            <pc:docMk/>
            <pc:sldMk cId="3831025926" sldId="1226"/>
            <ac:spMk id="262" creationId="{F3F21B8C-BCAC-A071-1409-429EEE06E9A1}"/>
          </ac:spMkLst>
        </pc:spChg>
        <pc:spChg chg="mod">
          <ac:chgData name="Devraj, Keerthi (DI SW ICS DVT CSF DV FS)" userId="a61e6969-d85e-42d5-913e-c7fe6fb96353" providerId="ADAL" clId="{8D2B4F8B-645F-482E-A867-56D9A41DB3EB}" dt="2023-11-15T10:36:51.820" v="1956" actId="207"/>
          <ac:spMkLst>
            <pc:docMk/>
            <pc:sldMk cId="3831025926" sldId="1226"/>
            <ac:spMk id="263" creationId="{05CAEDD0-02D8-2D39-8357-90C52C453BDB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33:26.655" v="1863"/>
          <ac:spMkLst>
            <pc:docMk/>
            <pc:sldMk cId="3831025926" sldId="1226"/>
            <ac:spMk id="264" creationId="{B0FE2078-9387-5DC5-4E50-9A13BDFBF119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33:26.655" v="1863"/>
          <ac:spMkLst>
            <pc:docMk/>
            <pc:sldMk cId="3831025926" sldId="1226"/>
            <ac:spMk id="265" creationId="{5A03DC45-C799-A928-C29E-736B0872366A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36:40.056" v="1954" actId="207"/>
          <ac:spMkLst>
            <pc:docMk/>
            <pc:sldMk cId="3831025926" sldId="1226"/>
            <ac:spMk id="266" creationId="{5F502333-A59E-642C-7122-5FF1DE905D2D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36:35.414" v="1952" actId="207"/>
          <ac:spMkLst>
            <pc:docMk/>
            <pc:sldMk cId="3831025926" sldId="1226"/>
            <ac:spMk id="267" creationId="{DED77821-1273-9A91-1E4D-FE625296E9F9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36:47.506" v="1955" actId="207"/>
          <ac:spMkLst>
            <pc:docMk/>
            <pc:sldMk cId="3831025926" sldId="1226"/>
            <ac:spMk id="268" creationId="{257EA2F9-2BE1-9543-DFCA-F5D727DEBB2B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33:26.655" v="1863"/>
          <ac:spMkLst>
            <pc:docMk/>
            <pc:sldMk cId="3831025926" sldId="1226"/>
            <ac:spMk id="269" creationId="{BB3EF578-517E-B86C-8489-68B03102C0B5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33:26.655" v="1863"/>
          <ac:spMkLst>
            <pc:docMk/>
            <pc:sldMk cId="3831025926" sldId="1226"/>
            <ac:spMk id="270" creationId="{52D91701-9954-1C25-97C0-BB041A28C019}"/>
          </ac:spMkLst>
        </pc:spChg>
        <pc:grpChg chg="del">
          <ac:chgData name="Devraj, Keerthi (DI SW ICS DVT CSF DV FS)" userId="a61e6969-d85e-42d5-913e-c7fe6fb96353" providerId="ADAL" clId="{8D2B4F8B-645F-482E-A867-56D9A41DB3EB}" dt="2023-11-15T10:33:25.601" v="1862" actId="478"/>
          <ac:grpSpMkLst>
            <pc:docMk/>
            <pc:sldMk cId="3831025926" sldId="1226"/>
            <ac:grpSpMk id="6" creationId="{C346EE02-30FB-9B2D-4C6C-593240268A42}"/>
          </ac:grpSpMkLst>
        </pc:grpChg>
        <pc:grpChg chg="del">
          <ac:chgData name="Devraj, Keerthi (DI SW ICS DVT CSF DV FS)" userId="a61e6969-d85e-42d5-913e-c7fe6fb96353" providerId="ADAL" clId="{8D2B4F8B-645F-482E-A867-56D9A41DB3EB}" dt="2023-11-15T10:33:25.601" v="1862" actId="478"/>
          <ac:grpSpMkLst>
            <pc:docMk/>
            <pc:sldMk cId="3831025926" sldId="1226"/>
            <ac:grpSpMk id="19" creationId="{3B06FFB4-40B0-C7C5-3180-008C1F302FA6}"/>
          </ac:grpSpMkLst>
        </pc:grpChg>
        <pc:grpChg chg="del">
          <ac:chgData name="Devraj, Keerthi (DI SW ICS DVT CSF DV FS)" userId="a61e6969-d85e-42d5-913e-c7fe6fb96353" providerId="ADAL" clId="{8D2B4F8B-645F-482E-A867-56D9A41DB3EB}" dt="2023-11-15T10:33:25.601" v="1862" actId="478"/>
          <ac:grpSpMkLst>
            <pc:docMk/>
            <pc:sldMk cId="3831025926" sldId="1226"/>
            <ac:grpSpMk id="29" creationId="{B77117A1-4757-D787-A416-B48422813FAE}"/>
          </ac:grpSpMkLst>
        </pc:grpChg>
        <pc:grpChg chg="del">
          <ac:chgData name="Devraj, Keerthi (DI SW ICS DVT CSF DV FS)" userId="a61e6969-d85e-42d5-913e-c7fe6fb96353" providerId="ADAL" clId="{8D2B4F8B-645F-482E-A867-56D9A41DB3EB}" dt="2023-11-15T10:33:25.601" v="1862" actId="478"/>
          <ac:grpSpMkLst>
            <pc:docMk/>
            <pc:sldMk cId="3831025926" sldId="1226"/>
            <ac:grpSpMk id="103" creationId="{88374B27-7178-BBC3-847A-19E6C831DF1D}"/>
          </ac:grpSpMkLst>
        </pc:grpChg>
        <pc:grpChg chg="del">
          <ac:chgData name="Devraj, Keerthi (DI SW ICS DVT CSF DV FS)" userId="a61e6969-d85e-42d5-913e-c7fe6fb96353" providerId="ADAL" clId="{8D2B4F8B-645F-482E-A867-56D9A41DB3EB}" dt="2023-11-15T10:33:25.601" v="1862" actId="478"/>
          <ac:grpSpMkLst>
            <pc:docMk/>
            <pc:sldMk cId="3831025926" sldId="1226"/>
            <ac:grpSpMk id="116" creationId="{B0325F79-4BBC-61C8-F9B9-FA9D3F62CDC7}"/>
          </ac:grpSpMkLst>
        </pc:grpChg>
        <pc:grpChg chg="del">
          <ac:chgData name="Devraj, Keerthi (DI SW ICS DVT CSF DV FS)" userId="a61e6969-d85e-42d5-913e-c7fe6fb96353" providerId="ADAL" clId="{8D2B4F8B-645F-482E-A867-56D9A41DB3EB}" dt="2023-11-15T10:33:25.601" v="1862" actId="478"/>
          <ac:grpSpMkLst>
            <pc:docMk/>
            <pc:sldMk cId="3831025926" sldId="1226"/>
            <ac:grpSpMk id="126" creationId="{1283686E-19C7-FD68-6846-B0D20A52C799}"/>
          </ac:grpSpMkLst>
        </pc:grpChg>
        <pc:grpChg chg="del">
          <ac:chgData name="Devraj, Keerthi (DI SW ICS DVT CSF DV FS)" userId="a61e6969-d85e-42d5-913e-c7fe6fb96353" providerId="ADAL" clId="{8D2B4F8B-645F-482E-A867-56D9A41DB3EB}" dt="2023-11-15T10:33:25.601" v="1862" actId="478"/>
          <ac:grpSpMkLst>
            <pc:docMk/>
            <pc:sldMk cId="3831025926" sldId="1226"/>
            <ac:grpSpMk id="168" creationId="{E85DC437-D9F4-C520-D04E-CBF2855C572F}"/>
          </ac:grpSpMkLst>
        </pc:grpChg>
        <pc:grpChg chg="add mod">
          <ac:chgData name="Devraj, Keerthi (DI SW ICS DVT CSF DV FS)" userId="a61e6969-d85e-42d5-913e-c7fe6fb96353" providerId="ADAL" clId="{8D2B4F8B-645F-482E-A867-56D9A41DB3EB}" dt="2023-11-15T10:33:26.655" v="1863"/>
          <ac:grpSpMkLst>
            <pc:docMk/>
            <pc:sldMk cId="3831025926" sldId="1226"/>
            <ac:grpSpMk id="183" creationId="{800976E8-5D87-36CB-7CE7-7E862ACA7D95}"/>
          </ac:grpSpMkLst>
        </pc:grpChg>
        <pc:grpChg chg="add mod">
          <ac:chgData name="Devraj, Keerthi (DI SW ICS DVT CSF DV FS)" userId="a61e6969-d85e-42d5-913e-c7fe6fb96353" providerId="ADAL" clId="{8D2B4F8B-645F-482E-A867-56D9A41DB3EB}" dt="2023-11-15T10:33:26.655" v="1863"/>
          <ac:grpSpMkLst>
            <pc:docMk/>
            <pc:sldMk cId="3831025926" sldId="1226"/>
            <ac:grpSpMk id="193" creationId="{C4057776-A57F-EB8F-8755-4D6E9F0E5915}"/>
          </ac:grpSpMkLst>
        </pc:grpChg>
        <pc:grpChg chg="add mod">
          <ac:chgData name="Devraj, Keerthi (DI SW ICS DVT CSF DV FS)" userId="a61e6969-d85e-42d5-913e-c7fe6fb96353" providerId="ADAL" clId="{8D2B4F8B-645F-482E-A867-56D9A41DB3EB}" dt="2023-11-15T10:33:26.655" v="1863"/>
          <ac:grpSpMkLst>
            <pc:docMk/>
            <pc:sldMk cId="3831025926" sldId="1226"/>
            <ac:grpSpMk id="203" creationId="{695E383C-75CF-453C-5270-4F5C7FA04B9E}"/>
          </ac:grpSpMkLst>
        </pc:grpChg>
        <pc:grpChg chg="add mod">
          <ac:chgData name="Devraj, Keerthi (DI SW ICS DVT CSF DV FS)" userId="a61e6969-d85e-42d5-913e-c7fe6fb96353" providerId="ADAL" clId="{8D2B4F8B-645F-482E-A867-56D9A41DB3EB}" dt="2023-11-15T10:33:26.655" v="1863"/>
          <ac:grpSpMkLst>
            <pc:docMk/>
            <pc:sldMk cId="3831025926" sldId="1226"/>
            <ac:grpSpMk id="214" creationId="{CEB31B98-2FD3-7892-0107-E0A903DD8E6D}"/>
          </ac:grpSpMkLst>
        </pc:grpChg>
        <pc:grpChg chg="add mod">
          <ac:chgData name="Devraj, Keerthi (DI SW ICS DVT CSF DV FS)" userId="a61e6969-d85e-42d5-913e-c7fe6fb96353" providerId="ADAL" clId="{8D2B4F8B-645F-482E-A867-56D9A41DB3EB}" dt="2023-11-15T10:33:26.655" v="1863"/>
          <ac:grpSpMkLst>
            <pc:docMk/>
            <pc:sldMk cId="3831025926" sldId="1226"/>
            <ac:grpSpMk id="243" creationId="{F6726BC1-8B33-15FD-76E3-75F5327E8D45}"/>
          </ac:grpSpMkLst>
        </pc:grpChg>
        <pc:grpChg chg="add mod">
          <ac:chgData name="Devraj, Keerthi (DI SW ICS DVT CSF DV FS)" userId="a61e6969-d85e-42d5-913e-c7fe6fb96353" providerId="ADAL" clId="{8D2B4F8B-645F-482E-A867-56D9A41DB3EB}" dt="2023-11-15T10:33:26.655" v="1863"/>
          <ac:grpSpMkLst>
            <pc:docMk/>
            <pc:sldMk cId="3831025926" sldId="1226"/>
            <ac:grpSpMk id="254" creationId="{95DA8B1E-DCFB-5DA5-50FC-38D558474766}"/>
          </ac:grpSpMkLst>
        </pc:grpChg>
        <pc:cxnChg chg="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185" creationId="{4B680882-5262-D39A-CDC7-78E58CE67A4A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186" creationId="{2DF9A9C3-5B9F-1ED1-68EB-69FFB67A8D6E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187" creationId="{D4B2C452-80CB-87C4-A027-6632D4792BD3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189" creationId="{41B2C829-617C-05FD-8BCE-78DF5B5C4BEB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190" creationId="{43743408-5D67-81E4-05EF-4275ABB49FA1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191" creationId="{F8638EA4-7F12-2599-4266-B0EA90EE60C2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195" creationId="{2CAE70CC-E725-B4EF-5814-494E49F0D967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196" creationId="{E66CDDEF-8EEF-A104-406E-797B9BD3CEF3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197" creationId="{20FC0120-E10D-6C50-28D9-D23F1987295F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199" creationId="{566AB89E-A0A3-80E5-977C-000FDF1EAE14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200" creationId="{F9E2F6F7-C537-E4D2-7B33-CE34B0AD5A7D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201" creationId="{A3CBFD97-D0ED-096E-21D7-3D2BB2E06F90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205" creationId="{9CD8F3D7-F2A8-37B5-E323-AED56E6B315D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206" creationId="{372E71B5-5236-720A-1BAC-38F09D5DD5ED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207" creationId="{B6AC3958-4652-6538-0367-478B60C63242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209" creationId="{60A4A8CD-3292-A821-1B25-A86C55475593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210" creationId="{B8C307CC-BFF8-2EC7-5D9F-FF6F3E35338F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211" creationId="{3DF8AC7A-6D8C-03E2-0AAC-D732C2FF048A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216" creationId="{C2E31D47-8A17-57A0-78BB-4C939819A41C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217" creationId="{9769436F-2CB8-B0CD-7DE7-27A5068436AA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218" creationId="{035AE63B-AA8C-F116-8A4C-C2CFC4309A06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220" creationId="{917DF56C-4A8B-C0C1-E53B-2B796F7A04F2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221" creationId="{1D1900CF-71AA-D9A6-2958-0AB1A174B9A5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222" creationId="{0AFEAE0E-C5EC-DAA7-D0AD-A7A911F8EEA5}"/>
          </ac:cxnSpMkLst>
        </pc:cxnChg>
        <pc:cxnChg chg="add 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224" creationId="{74E739B1-2BD6-B81F-5AB8-AFD1599DF592}"/>
          </ac:cxnSpMkLst>
        </pc:cxnChg>
        <pc:cxnChg chg="add 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225" creationId="{34356BB7-1CEE-05EB-63BB-34A3C5625414}"/>
          </ac:cxnSpMkLst>
        </pc:cxnChg>
        <pc:cxnChg chg="add 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226" creationId="{0787B266-0F3B-7FBE-B69B-D6B00DE7E564}"/>
          </ac:cxnSpMkLst>
        </pc:cxnChg>
        <pc:cxnChg chg="add 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228" creationId="{EDAE0AD0-33E9-10A0-6B3C-F603F4FE5D71}"/>
          </ac:cxnSpMkLst>
        </pc:cxnChg>
        <pc:cxnChg chg="add 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229" creationId="{2E78B574-B1D0-826C-A7A9-3EB7F3FDD752}"/>
          </ac:cxnSpMkLst>
        </pc:cxnChg>
        <pc:cxnChg chg="add 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230" creationId="{326FB8A6-878E-1F9B-51D3-F0287D6E2BC6}"/>
          </ac:cxnSpMkLst>
        </pc:cxnChg>
        <pc:cxnChg chg="add 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234" creationId="{1BC52715-6CBF-C891-108D-0216CC333198}"/>
          </ac:cxnSpMkLst>
        </pc:cxnChg>
        <pc:cxnChg chg="add 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235" creationId="{76EF78A4-F522-B3E6-0D7D-2F0218D490D5}"/>
          </ac:cxnSpMkLst>
        </pc:cxnChg>
        <pc:cxnChg chg="add 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236" creationId="{32EE2F53-5AF2-360A-0B0F-FA7B6610F82B}"/>
          </ac:cxnSpMkLst>
        </pc:cxnChg>
        <pc:cxnChg chg="add 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237" creationId="{FD446A26-285A-95F2-C629-F5AF92801B49}"/>
          </ac:cxnSpMkLst>
        </pc:cxnChg>
        <pc:cxnChg chg="add 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238" creationId="{9B49D011-C2FE-00E5-5BA6-E42218A302BD}"/>
          </ac:cxnSpMkLst>
        </pc:cxnChg>
        <pc:cxnChg chg="add 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239" creationId="{C222B8C9-D602-727E-797A-1D590C95A4C9}"/>
          </ac:cxnSpMkLst>
        </pc:cxnChg>
        <pc:cxnChg chg="add 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240" creationId="{BB128266-66EE-AA6F-B177-BFA0DE200B42}"/>
          </ac:cxnSpMkLst>
        </pc:cxnChg>
        <pc:cxnChg chg="add 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241" creationId="{41E7308B-3A70-0D39-C0B1-0624BF5338A0}"/>
          </ac:cxnSpMkLst>
        </pc:cxnChg>
        <pc:cxnChg chg="add 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242" creationId="{67F6763C-C1DA-40CA-4023-33B3D2CD43C3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245" creationId="{8D4F8FF2-805C-A439-18ED-37E5EBACE4E5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246" creationId="{B0BAA855-3631-AE0B-1E19-471F6167833F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247" creationId="{D61B404F-3188-7793-BC7C-45B604E6963E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249" creationId="{272550DF-C4EA-993C-4690-201A74D69C12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250" creationId="{3A46A72B-B1C3-DEB5-E2B8-820A9D21D269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251" creationId="{03FCB155-21AE-D759-8AE5-F7B33C736F3B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255" creationId="{59693369-AC42-3EC6-9B6D-3F0409080603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256" creationId="{BE255D51-CACC-433E-77B9-A7AD04EB2E59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257" creationId="{424DBFF3-1096-FA06-2A4E-D1E163EEF574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259" creationId="{D2EE4DA1-C765-D1AC-2ADC-A1116D9924F6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260" creationId="{0214F65E-46DC-79CF-1AF9-97E2E4596397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0:33:26.655" v="1863"/>
          <ac:cxnSpMkLst>
            <pc:docMk/>
            <pc:sldMk cId="3831025926" sldId="1226"/>
            <ac:cxnSpMk id="261" creationId="{DF7EF1CB-6ED0-2652-56BB-4E751795F2C3}"/>
          </ac:cxnSpMkLst>
        </pc:cxnChg>
      </pc:sldChg>
      <pc:sldChg chg="addSp delSp modSp add mod">
        <pc:chgData name="Devraj, Keerthi (DI SW ICS DVT CSF DV FS)" userId="a61e6969-d85e-42d5-913e-c7fe6fb96353" providerId="ADAL" clId="{8D2B4F8B-645F-482E-A867-56D9A41DB3EB}" dt="2023-11-15T10:39:19.713" v="1978" actId="208"/>
        <pc:sldMkLst>
          <pc:docMk/>
          <pc:sldMk cId="960115209" sldId="1227"/>
        </pc:sldMkLst>
        <pc:spChg chg="del">
          <ac:chgData name="Devraj, Keerthi (DI SW ICS DVT CSF DV FS)" userId="a61e6969-d85e-42d5-913e-c7fe6fb96353" providerId="ADAL" clId="{8D2B4F8B-645F-482E-A867-56D9A41DB3EB}" dt="2023-11-15T10:37:12.448" v="1959" actId="478"/>
          <ac:spMkLst>
            <pc:docMk/>
            <pc:sldMk cId="960115209" sldId="1227"/>
            <ac:spMk id="2" creationId="{6B7D93D2-0B1D-4121-D195-58967408EEB6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37:17.649" v="1960"/>
          <ac:spMkLst>
            <pc:docMk/>
            <pc:sldMk cId="960115209" sldId="1227"/>
            <ac:spMk id="4" creationId="{984EF364-607B-F749-DE4A-086B45810419}"/>
          </ac:spMkLst>
        </pc:spChg>
        <pc:spChg chg="mod">
          <ac:chgData name="Devraj, Keerthi (DI SW ICS DVT CSF DV FS)" userId="a61e6969-d85e-42d5-913e-c7fe6fb96353" providerId="ADAL" clId="{8D2B4F8B-645F-482E-A867-56D9A41DB3EB}" dt="2023-11-15T10:39:19.713" v="1978" actId="208"/>
          <ac:spMkLst>
            <pc:docMk/>
            <pc:sldMk cId="960115209" sldId="1227"/>
            <ac:spMk id="8" creationId="{E7D5B3FD-7322-9AB2-D172-254351E4A688}"/>
          </ac:spMkLst>
        </pc:spChg>
        <pc:spChg chg="del">
          <ac:chgData name="Devraj, Keerthi (DI SW ICS DVT CSF DV FS)" userId="a61e6969-d85e-42d5-913e-c7fe6fb96353" providerId="ADAL" clId="{8D2B4F8B-645F-482E-A867-56D9A41DB3EB}" dt="2023-11-15T10:37:10.828" v="1958" actId="478"/>
          <ac:spMkLst>
            <pc:docMk/>
            <pc:sldMk cId="960115209" sldId="1227"/>
            <ac:spMk id="213" creationId="{2637D0AB-7534-A86C-83B1-B95152AA3EC5}"/>
          </ac:spMkLst>
        </pc:spChg>
        <pc:spChg chg="del">
          <ac:chgData name="Devraj, Keerthi (DI SW ICS DVT CSF DV FS)" userId="a61e6969-d85e-42d5-913e-c7fe6fb96353" providerId="ADAL" clId="{8D2B4F8B-645F-482E-A867-56D9A41DB3EB}" dt="2023-11-15T10:37:10.828" v="1958" actId="478"/>
          <ac:spMkLst>
            <pc:docMk/>
            <pc:sldMk cId="960115209" sldId="1227"/>
            <ac:spMk id="227" creationId="{460BAB2A-E5B5-DF05-C160-142200684963}"/>
          </ac:spMkLst>
        </pc:spChg>
        <pc:spChg chg="del">
          <ac:chgData name="Devraj, Keerthi (DI SW ICS DVT CSF DV FS)" userId="a61e6969-d85e-42d5-913e-c7fe6fb96353" providerId="ADAL" clId="{8D2B4F8B-645F-482E-A867-56D9A41DB3EB}" dt="2023-11-15T10:37:10.828" v="1958" actId="478"/>
          <ac:spMkLst>
            <pc:docMk/>
            <pc:sldMk cId="960115209" sldId="1227"/>
            <ac:spMk id="231" creationId="{4CC5C78C-B261-8EE2-1CE8-DE41E3B54200}"/>
          </ac:spMkLst>
        </pc:spChg>
        <pc:spChg chg="del">
          <ac:chgData name="Devraj, Keerthi (DI SW ICS DVT CSF DV FS)" userId="a61e6969-d85e-42d5-913e-c7fe6fb96353" providerId="ADAL" clId="{8D2B4F8B-645F-482E-A867-56D9A41DB3EB}" dt="2023-11-15T10:37:10.828" v="1958" actId="478"/>
          <ac:spMkLst>
            <pc:docMk/>
            <pc:sldMk cId="960115209" sldId="1227"/>
            <ac:spMk id="232" creationId="{E5C368C8-2CB3-7F58-3E91-4D2D01841D80}"/>
          </ac:spMkLst>
        </pc:spChg>
        <pc:spChg chg="del">
          <ac:chgData name="Devraj, Keerthi (DI SW ICS DVT CSF DV FS)" userId="a61e6969-d85e-42d5-913e-c7fe6fb96353" providerId="ADAL" clId="{8D2B4F8B-645F-482E-A867-56D9A41DB3EB}" dt="2023-11-15T10:37:10.828" v="1958" actId="478"/>
          <ac:spMkLst>
            <pc:docMk/>
            <pc:sldMk cId="960115209" sldId="1227"/>
            <ac:spMk id="233" creationId="{F1A039E5-5431-7229-7AA2-25A05912DD38}"/>
          </ac:spMkLst>
        </pc:spChg>
        <pc:spChg chg="del">
          <ac:chgData name="Devraj, Keerthi (DI SW ICS DVT CSF DV FS)" userId="a61e6969-d85e-42d5-913e-c7fe6fb96353" providerId="ADAL" clId="{8D2B4F8B-645F-482E-A867-56D9A41DB3EB}" dt="2023-11-15T10:37:10.828" v="1958" actId="478"/>
          <ac:spMkLst>
            <pc:docMk/>
            <pc:sldMk cId="960115209" sldId="1227"/>
            <ac:spMk id="253" creationId="{9FA82B89-4038-2972-1CDF-8BCE4C106F86}"/>
          </ac:spMkLst>
        </pc:spChg>
        <pc:spChg chg="del">
          <ac:chgData name="Devraj, Keerthi (DI SW ICS DVT CSF DV FS)" userId="a61e6969-d85e-42d5-913e-c7fe6fb96353" providerId="ADAL" clId="{8D2B4F8B-645F-482E-A867-56D9A41DB3EB}" dt="2023-11-15T10:37:10.828" v="1958" actId="478"/>
          <ac:spMkLst>
            <pc:docMk/>
            <pc:sldMk cId="960115209" sldId="1227"/>
            <ac:spMk id="264" creationId="{B0FE2078-9387-5DC5-4E50-9A13BDFBF119}"/>
          </ac:spMkLst>
        </pc:spChg>
        <pc:spChg chg="del">
          <ac:chgData name="Devraj, Keerthi (DI SW ICS DVT CSF DV FS)" userId="a61e6969-d85e-42d5-913e-c7fe6fb96353" providerId="ADAL" clId="{8D2B4F8B-645F-482E-A867-56D9A41DB3EB}" dt="2023-11-15T10:37:10.828" v="1958" actId="478"/>
          <ac:spMkLst>
            <pc:docMk/>
            <pc:sldMk cId="960115209" sldId="1227"/>
            <ac:spMk id="265" creationId="{5A03DC45-C799-A928-C29E-736B0872366A}"/>
          </ac:spMkLst>
        </pc:spChg>
        <pc:spChg chg="del">
          <ac:chgData name="Devraj, Keerthi (DI SW ICS DVT CSF DV FS)" userId="a61e6969-d85e-42d5-913e-c7fe6fb96353" providerId="ADAL" clId="{8D2B4F8B-645F-482E-A867-56D9A41DB3EB}" dt="2023-11-15T10:37:10.828" v="1958" actId="478"/>
          <ac:spMkLst>
            <pc:docMk/>
            <pc:sldMk cId="960115209" sldId="1227"/>
            <ac:spMk id="266" creationId="{5F502333-A59E-642C-7122-5FF1DE905D2D}"/>
          </ac:spMkLst>
        </pc:spChg>
        <pc:spChg chg="del">
          <ac:chgData name="Devraj, Keerthi (DI SW ICS DVT CSF DV FS)" userId="a61e6969-d85e-42d5-913e-c7fe6fb96353" providerId="ADAL" clId="{8D2B4F8B-645F-482E-A867-56D9A41DB3EB}" dt="2023-11-15T10:37:10.828" v="1958" actId="478"/>
          <ac:spMkLst>
            <pc:docMk/>
            <pc:sldMk cId="960115209" sldId="1227"/>
            <ac:spMk id="267" creationId="{DED77821-1273-9A91-1E4D-FE625296E9F9}"/>
          </ac:spMkLst>
        </pc:spChg>
        <pc:spChg chg="del">
          <ac:chgData name="Devraj, Keerthi (DI SW ICS DVT CSF DV FS)" userId="a61e6969-d85e-42d5-913e-c7fe6fb96353" providerId="ADAL" clId="{8D2B4F8B-645F-482E-A867-56D9A41DB3EB}" dt="2023-11-15T10:37:10.828" v="1958" actId="478"/>
          <ac:spMkLst>
            <pc:docMk/>
            <pc:sldMk cId="960115209" sldId="1227"/>
            <ac:spMk id="268" creationId="{257EA2F9-2BE1-9543-DFCA-F5D727DEBB2B}"/>
          </ac:spMkLst>
        </pc:spChg>
        <pc:spChg chg="del">
          <ac:chgData name="Devraj, Keerthi (DI SW ICS DVT CSF DV FS)" userId="a61e6969-d85e-42d5-913e-c7fe6fb96353" providerId="ADAL" clId="{8D2B4F8B-645F-482E-A867-56D9A41DB3EB}" dt="2023-11-15T10:37:10.828" v="1958" actId="478"/>
          <ac:spMkLst>
            <pc:docMk/>
            <pc:sldMk cId="960115209" sldId="1227"/>
            <ac:spMk id="269" creationId="{BB3EF578-517E-B86C-8489-68B03102C0B5}"/>
          </ac:spMkLst>
        </pc:spChg>
        <pc:spChg chg="del">
          <ac:chgData name="Devraj, Keerthi (DI SW ICS DVT CSF DV FS)" userId="a61e6969-d85e-42d5-913e-c7fe6fb96353" providerId="ADAL" clId="{8D2B4F8B-645F-482E-A867-56D9A41DB3EB}" dt="2023-11-15T10:37:10.828" v="1958" actId="478"/>
          <ac:spMkLst>
            <pc:docMk/>
            <pc:sldMk cId="960115209" sldId="1227"/>
            <ac:spMk id="270" creationId="{52D91701-9954-1C25-97C0-BB041A28C019}"/>
          </ac:spMkLst>
        </pc:spChg>
        <pc:grpChg chg="del">
          <ac:chgData name="Devraj, Keerthi (DI SW ICS DVT CSF DV FS)" userId="a61e6969-d85e-42d5-913e-c7fe6fb96353" providerId="ADAL" clId="{8D2B4F8B-645F-482E-A867-56D9A41DB3EB}" dt="2023-11-15T10:37:10.828" v="1958" actId="478"/>
          <ac:grpSpMkLst>
            <pc:docMk/>
            <pc:sldMk cId="960115209" sldId="1227"/>
            <ac:grpSpMk id="183" creationId="{800976E8-5D87-36CB-7CE7-7E862ACA7D95}"/>
          </ac:grpSpMkLst>
        </pc:grpChg>
        <pc:grpChg chg="del">
          <ac:chgData name="Devraj, Keerthi (DI SW ICS DVT CSF DV FS)" userId="a61e6969-d85e-42d5-913e-c7fe6fb96353" providerId="ADAL" clId="{8D2B4F8B-645F-482E-A867-56D9A41DB3EB}" dt="2023-11-15T10:37:10.828" v="1958" actId="478"/>
          <ac:grpSpMkLst>
            <pc:docMk/>
            <pc:sldMk cId="960115209" sldId="1227"/>
            <ac:grpSpMk id="193" creationId="{C4057776-A57F-EB8F-8755-4D6E9F0E5915}"/>
          </ac:grpSpMkLst>
        </pc:grpChg>
        <pc:grpChg chg="del">
          <ac:chgData name="Devraj, Keerthi (DI SW ICS DVT CSF DV FS)" userId="a61e6969-d85e-42d5-913e-c7fe6fb96353" providerId="ADAL" clId="{8D2B4F8B-645F-482E-A867-56D9A41DB3EB}" dt="2023-11-15T10:37:10.828" v="1958" actId="478"/>
          <ac:grpSpMkLst>
            <pc:docMk/>
            <pc:sldMk cId="960115209" sldId="1227"/>
            <ac:grpSpMk id="203" creationId="{695E383C-75CF-453C-5270-4F5C7FA04B9E}"/>
          </ac:grpSpMkLst>
        </pc:grpChg>
        <pc:grpChg chg="del">
          <ac:chgData name="Devraj, Keerthi (DI SW ICS DVT CSF DV FS)" userId="a61e6969-d85e-42d5-913e-c7fe6fb96353" providerId="ADAL" clId="{8D2B4F8B-645F-482E-A867-56D9A41DB3EB}" dt="2023-11-15T10:37:10.828" v="1958" actId="478"/>
          <ac:grpSpMkLst>
            <pc:docMk/>
            <pc:sldMk cId="960115209" sldId="1227"/>
            <ac:grpSpMk id="214" creationId="{CEB31B98-2FD3-7892-0107-E0A903DD8E6D}"/>
          </ac:grpSpMkLst>
        </pc:grpChg>
        <pc:grpChg chg="del">
          <ac:chgData name="Devraj, Keerthi (DI SW ICS DVT CSF DV FS)" userId="a61e6969-d85e-42d5-913e-c7fe6fb96353" providerId="ADAL" clId="{8D2B4F8B-645F-482E-A867-56D9A41DB3EB}" dt="2023-11-15T10:37:10.828" v="1958" actId="478"/>
          <ac:grpSpMkLst>
            <pc:docMk/>
            <pc:sldMk cId="960115209" sldId="1227"/>
            <ac:grpSpMk id="243" creationId="{F6726BC1-8B33-15FD-76E3-75F5327E8D45}"/>
          </ac:grpSpMkLst>
        </pc:grpChg>
        <pc:grpChg chg="del">
          <ac:chgData name="Devraj, Keerthi (DI SW ICS DVT CSF DV FS)" userId="a61e6969-d85e-42d5-913e-c7fe6fb96353" providerId="ADAL" clId="{8D2B4F8B-645F-482E-A867-56D9A41DB3EB}" dt="2023-11-15T10:37:10.828" v="1958" actId="478"/>
          <ac:grpSpMkLst>
            <pc:docMk/>
            <pc:sldMk cId="960115209" sldId="1227"/>
            <ac:grpSpMk id="254" creationId="{95DA8B1E-DCFB-5DA5-50FC-38D558474766}"/>
          </ac:grpSpMkLst>
        </pc:grpChg>
        <pc:cxnChg chg="del">
          <ac:chgData name="Devraj, Keerthi (DI SW ICS DVT CSF DV FS)" userId="a61e6969-d85e-42d5-913e-c7fe6fb96353" providerId="ADAL" clId="{8D2B4F8B-645F-482E-A867-56D9A41DB3EB}" dt="2023-11-15T10:37:10.828" v="1958" actId="478"/>
          <ac:cxnSpMkLst>
            <pc:docMk/>
            <pc:sldMk cId="960115209" sldId="1227"/>
            <ac:cxnSpMk id="224" creationId="{74E739B1-2BD6-B81F-5AB8-AFD1599DF592}"/>
          </ac:cxnSpMkLst>
        </pc:cxnChg>
        <pc:cxnChg chg="del">
          <ac:chgData name="Devraj, Keerthi (DI SW ICS DVT CSF DV FS)" userId="a61e6969-d85e-42d5-913e-c7fe6fb96353" providerId="ADAL" clId="{8D2B4F8B-645F-482E-A867-56D9A41DB3EB}" dt="2023-11-15T10:37:10.828" v="1958" actId="478"/>
          <ac:cxnSpMkLst>
            <pc:docMk/>
            <pc:sldMk cId="960115209" sldId="1227"/>
            <ac:cxnSpMk id="225" creationId="{34356BB7-1CEE-05EB-63BB-34A3C5625414}"/>
          </ac:cxnSpMkLst>
        </pc:cxnChg>
        <pc:cxnChg chg="del">
          <ac:chgData name="Devraj, Keerthi (DI SW ICS DVT CSF DV FS)" userId="a61e6969-d85e-42d5-913e-c7fe6fb96353" providerId="ADAL" clId="{8D2B4F8B-645F-482E-A867-56D9A41DB3EB}" dt="2023-11-15T10:37:10.828" v="1958" actId="478"/>
          <ac:cxnSpMkLst>
            <pc:docMk/>
            <pc:sldMk cId="960115209" sldId="1227"/>
            <ac:cxnSpMk id="226" creationId="{0787B266-0F3B-7FBE-B69B-D6B00DE7E564}"/>
          </ac:cxnSpMkLst>
        </pc:cxnChg>
        <pc:cxnChg chg="del">
          <ac:chgData name="Devraj, Keerthi (DI SW ICS DVT CSF DV FS)" userId="a61e6969-d85e-42d5-913e-c7fe6fb96353" providerId="ADAL" clId="{8D2B4F8B-645F-482E-A867-56D9A41DB3EB}" dt="2023-11-15T10:37:10.828" v="1958" actId="478"/>
          <ac:cxnSpMkLst>
            <pc:docMk/>
            <pc:sldMk cId="960115209" sldId="1227"/>
            <ac:cxnSpMk id="228" creationId="{EDAE0AD0-33E9-10A0-6B3C-F603F4FE5D71}"/>
          </ac:cxnSpMkLst>
        </pc:cxnChg>
        <pc:cxnChg chg="del">
          <ac:chgData name="Devraj, Keerthi (DI SW ICS DVT CSF DV FS)" userId="a61e6969-d85e-42d5-913e-c7fe6fb96353" providerId="ADAL" clId="{8D2B4F8B-645F-482E-A867-56D9A41DB3EB}" dt="2023-11-15T10:37:10.828" v="1958" actId="478"/>
          <ac:cxnSpMkLst>
            <pc:docMk/>
            <pc:sldMk cId="960115209" sldId="1227"/>
            <ac:cxnSpMk id="229" creationId="{2E78B574-B1D0-826C-A7A9-3EB7F3FDD752}"/>
          </ac:cxnSpMkLst>
        </pc:cxnChg>
        <pc:cxnChg chg="del">
          <ac:chgData name="Devraj, Keerthi (DI SW ICS DVT CSF DV FS)" userId="a61e6969-d85e-42d5-913e-c7fe6fb96353" providerId="ADAL" clId="{8D2B4F8B-645F-482E-A867-56D9A41DB3EB}" dt="2023-11-15T10:37:10.828" v="1958" actId="478"/>
          <ac:cxnSpMkLst>
            <pc:docMk/>
            <pc:sldMk cId="960115209" sldId="1227"/>
            <ac:cxnSpMk id="230" creationId="{326FB8A6-878E-1F9B-51D3-F0287D6E2BC6}"/>
          </ac:cxnSpMkLst>
        </pc:cxnChg>
        <pc:cxnChg chg="del">
          <ac:chgData name="Devraj, Keerthi (DI SW ICS DVT CSF DV FS)" userId="a61e6969-d85e-42d5-913e-c7fe6fb96353" providerId="ADAL" clId="{8D2B4F8B-645F-482E-A867-56D9A41DB3EB}" dt="2023-11-15T10:37:10.828" v="1958" actId="478"/>
          <ac:cxnSpMkLst>
            <pc:docMk/>
            <pc:sldMk cId="960115209" sldId="1227"/>
            <ac:cxnSpMk id="234" creationId="{1BC52715-6CBF-C891-108D-0216CC333198}"/>
          </ac:cxnSpMkLst>
        </pc:cxnChg>
        <pc:cxnChg chg="del">
          <ac:chgData name="Devraj, Keerthi (DI SW ICS DVT CSF DV FS)" userId="a61e6969-d85e-42d5-913e-c7fe6fb96353" providerId="ADAL" clId="{8D2B4F8B-645F-482E-A867-56D9A41DB3EB}" dt="2023-11-15T10:37:10.828" v="1958" actId="478"/>
          <ac:cxnSpMkLst>
            <pc:docMk/>
            <pc:sldMk cId="960115209" sldId="1227"/>
            <ac:cxnSpMk id="235" creationId="{76EF78A4-F522-B3E6-0D7D-2F0218D490D5}"/>
          </ac:cxnSpMkLst>
        </pc:cxnChg>
        <pc:cxnChg chg="del">
          <ac:chgData name="Devraj, Keerthi (DI SW ICS DVT CSF DV FS)" userId="a61e6969-d85e-42d5-913e-c7fe6fb96353" providerId="ADAL" clId="{8D2B4F8B-645F-482E-A867-56D9A41DB3EB}" dt="2023-11-15T10:37:10.828" v="1958" actId="478"/>
          <ac:cxnSpMkLst>
            <pc:docMk/>
            <pc:sldMk cId="960115209" sldId="1227"/>
            <ac:cxnSpMk id="236" creationId="{32EE2F53-5AF2-360A-0B0F-FA7B6610F82B}"/>
          </ac:cxnSpMkLst>
        </pc:cxnChg>
        <pc:cxnChg chg="del">
          <ac:chgData name="Devraj, Keerthi (DI SW ICS DVT CSF DV FS)" userId="a61e6969-d85e-42d5-913e-c7fe6fb96353" providerId="ADAL" clId="{8D2B4F8B-645F-482E-A867-56D9A41DB3EB}" dt="2023-11-15T10:37:10.828" v="1958" actId="478"/>
          <ac:cxnSpMkLst>
            <pc:docMk/>
            <pc:sldMk cId="960115209" sldId="1227"/>
            <ac:cxnSpMk id="237" creationId="{FD446A26-285A-95F2-C629-F5AF92801B49}"/>
          </ac:cxnSpMkLst>
        </pc:cxnChg>
        <pc:cxnChg chg="del">
          <ac:chgData name="Devraj, Keerthi (DI SW ICS DVT CSF DV FS)" userId="a61e6969-d85e-42d5-913e-c7fe6fb96353" providerId="ADAL" clId="{8D2B4F8B-645F-482E-A867-56D9A41DB3EB}" dt="2023-11-15T10:37:10.828" v="1958" actId="478"/>
          <ac:cxnSpMkLst>
            <pc:docMk/>
            <pc:sldMk cId="960115209" sldId="1227"/>
            <ac:cxnSpMk id="238" creationId="{9B49D011-C2FE-00E5-5BA6-E42218A302BD}"/>
          </ac:cxnSpMkLst>
        </pc:cxnChg>
        <pc:cxnChg chg="del">
          <ac:chgData name="Devraj, Keerthi (DI SW ICS DVT CSF DV FS)" userId="a61e6969-d85e-42d5-913e-c7fe6fb96353" providerId="ADAL" clId="{8D2B4F8B-645F-482E-A867-56D9A41DB3EB}" dt="2023-11-15T10:37:10.828" v="1958" actId="478"/>
          <ac:cxnSpMkLst>
            <pc:docMk/>
            <pc:sldMk cId="960115209" sldId="1227"/>
            <ac:cxnSpMk id="239" creationId="{C222B8C9-D602-727E-797A-1D590C95A4C9}"/>
          </ac:cxnSpMkLst>
        </pc:cxnChg>
        <pc:cxnChg chg="del">
          <ac:chgData name="Devraj, Keerthi (DI SW ICS DVT CSF DV FS)" userId="a61e6969-d85e-42d5-913e-c7fe6fb96353" providerId="ADAL" clId="{8D2B4F8B-645F-482E-A867-56D9A41DB3EB}" dt="2023-11-15T10:37:10.828" v="1958" actId="478"/>
          <ac:cxnSpMkLst>
            <pc:docMk/>
            <pc:sldMk cId="960115209" sldId="1227"/>
            <ac:cxnSpMk id="240" creationId="{BB128266-66EE-AA6F-B177-BFA0DE200B42}"/>
          </ac:cxnSpMkLst>
        </pc:cxnChg>
        <pc:cxnChg chg="del">
          <ac:chgData name="Devraj, Keerthi (DI SW ICS DVT CSF DV FS)" userId="a61e6969-d85e-42d5-913e-c7fe6fb96353" providerId="ADAL" clId="{8D2B4F8B-645F-482E-A867-56D9A41DB3EB}" dt="2023-11-15T10:37:10.828" v="1958" actId="478"/>
          <ac:cxnSpMkLst>
            <pc:docMk/>
            <pc:sldMk cId="960115209" sldId="1227"/>
            <ac:cxnSpMk id="241" creationId="{41E7308B-3A70-0D39-C0B1-0624BF5338A0}"/>
          </ac:cxnSpMkLst>
        </pc:cxnChg>
        <pc:cxnChg chg="del">
          <ac:chgData name="Devraj, Keerthi (DI SW ICS DVT CSF DV FS)" userId="a61e6969-d85e-42d5-913e-c7fe6fb96353" providerId="ADAL" clId="{8D2B4F8B-645F-482E-A867-56D9A41DB3EB}" dt="2023-11-15T10:37:10.828" v="1958" actId="478"/>
          <ac:cxnSpMkLst>
            <pc:docMk/>
            <pc:sldMk cId="960115209" sldId="1227"/>
            <ac:cxnSpMk id="242" creationId="{67F6763C-C1DA-40CA-4023-33B3D2CD43C3}"/>
          </ac:cxnSpMkLst>
        </pc:cxnChg>
      </pc:sldChg>
      <pc:sldChg chg="addSp delSp modSp add mod">
        <pc:chgData name="Devraj, Keerthi (DI SW ICS DVT CSF DV FS)" userId="a61e6969-d85e-42d5-913e-c7fe6fb96353" providerId="ADAL" clId="{8D2B4F8B-645F-482E-A867-56D9A41DB3EB}" dt="2023-11-15T10:58:05.276" v="2119" actId="207"/>
        <pc:sldMkLst>
          <pc:docMk/>
          <pc:sldMk cId="1054932334" sldId="1228"/>
        </pc:sldMkLst>
        <pc:spChg chg="add mod">
          <ac:chgData name="Devraj, Keerthi (DI SW ICS DVT CSF DV FS)" userId="a61e6969-d85e-42d5-913e-c7fe6fb96353" providerId="ADAL" clId="{8D2B4F8B-645F-482E-A867-56D9A41DB3EB}" dt="2023-11-15T10:39:35.166" v="1980" actId="208"/>
          <ac:spMkLst>
            <pc:docMk/>
            <pc:sldMk cId="1054932334" sldId="1228"/>
            <ac:spMk id="2" creationId="{33AF1C01-6A31-F3F5-A6E6-37987B485DC5}"/>
          </ac:spMkLst>
        </pc:spChg>
        <pc:spChg chg="del">
          <ac:chgData name="Devraj, Keerthi (DI SW ICS DVT CSF DV FS)" userId="a61e6969-d85e-42d5-913e-c7fe6fb96353" providerId="ADAL" clId="{8D2B4F8B-645F-482E-A867-56D9A41DB3EB}" dt="2023-11-15T10:38:16.824" v="1962" actId="478"/>
          <ac:spMkLst>
            <pc:docMk/>
            <pc:sldMk cId="1054932334" sldId="1228"/>
            <ac:spMk id="4" creationId="{984EF364-607B-F749-DE4A-086B45810419}"/>
          </ac:spMkLst>
        </pc:spChg>
        <pc:spChg chg="mod">
          <ac:chgData name="Devraj, Keerthi (DI SW ICS DVT CSF DV FS)" userId="a61e6969-d85e-42d5-913e-c7fe6fb96353" providerId="ADAL" clId="{8D2B4F8B-645F-482E-A867-56D9A41DB3EB}" dt="2023-11-15T10:38:22.791" v="1963"/>
          <ac:spMkLst>
            <pc:docMk/>
            <pc:sldMk cId="1054932334" sldId="1228"/>
            <ac:spMk id="5" creationId="{EBA48031-2E40-656E-AACD-45B10E861454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39:31.329" v="1979"/>
          <ac:spMkLst>
            <pc:docMk/>
            <pc:sldMk cId="1054932334" sldId="1228"/>
            <ac:spMk id="6" creationId="{138BD041-7285-8796-D480-300DB5C3ECC8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39:31.329" v="1979"/>
          <ac:spMkLst>
            <pc:docMk/>
            <pc:sldMk cId="1054932334" sldId="1228"/>
            <ac:spMk id="7" creationId="{613C82DD-AD5C-D11A-41EB-E5D4D113EC9E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39:41.035" v="1982" actId="207"/>
          <ac:spMkLst>
            <pc:docMk/>
            <pc:sldMk cId="1054932334" sldId="1228"/>
            <ac:spMk id="11" creationId="{266736D5-EC7D-1E76-3B29-865CBD0AD5C3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58:05.276" v="2119" actId="207"/>
          <ac:spMkLst>
            <pc:docMk/>
            <pc:sldMk cId="1054932334" sldId="1228"/>
            <ac:spMk id="12" creationId="{99540DFB-D7DB-751A-6818-41D8D0268D34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56:58.273" v="2099" actId="1076"/>
          <ac:spMkLst>
            <pc:docMk/>
            <pc:sldMk cId="1054932334" sldId="1228"/>
            <ac:spMk id="13" creationId="{8DD4A2FA-4F0A-BF18-2164-3D7643C02940}"/>
          </ac:spMkLst>
        </pc:spChg>
        <pc:spChg chg="add del mod">
          <ac:chgData name="Devraj, Keerthi (DI SW ICS DVT CSF DV FS)" userId="a61e6969-d85e-42d5-913e-c7fe6fb96353" providerId="ADAL" clId="{8D2B4F8B-645F-482E-A867-56D9A41DB3EB}" dt="2023-11-15T10:57:41.251" v="2111" actId="478"/>
          <ac:spMkLst>
            <pc:docMk/>
            <pc:sldMk cId="1054932334" sldId="1228"/>
            <ac:spMk id="14" creationId="{87EFC4A0-AAE3-D928-5A4F-3077BD8C4B57}"/>
          </ac:spMkLst>
        </pc:spChg>
      </pc:sldChg>
      <pc:sldChg chg="delSp modSp add del mod">
        <pc:chgData name="Devraj, Keerthi (DI SW ICS DVT CSF DV FS)" userId="a61e6969-d85e-42d5-913e-c7fe6fb96353" providerId="ADAL" clId="{8D2B4F8B-645F-482E-A867-56D9A41DB3EB}" dt="2023-11-15T08:43:37.546" v="90" actId="47"/>
        <pc:sldMkLst>
          <pc:docMk/>
          <pc:sldMk cId="4081753019" sldId="1228"/>
        </pc:sldMkLst>
        <pc:spChg chg="del">
          <ac:chgData name="Devraj, Keerthi (DI SW ICS DVT CSF DV FS)" userId="a61e6969-d85e-42d5-913e-c7fe6fb96353" providerId="ADAL" clId="{8D2B4F8B-645F-482E-A867-56D9A41DB3EB}" dt="2023-11-15T08:37:39.896" v="67" actId="478"/>
          <ac:spMkLst>
            <pc:docMk/>
            <pc:sldMk cId="4081753019" sldId="1228"/>
            <ac:spMk id="15" creationId="{00000000-0000-0000-0000-000000000000}"/>
          </ac:spMkLst>
        </pc:spChg>
        <pc:spChg chg="del">
          <ac:chgData name="Devraj, Keerthi (DI SW ICS DVT CSF DV FS)" userId="a61e6969-d85e-42d5-913e-c7fe6fb96353" providerId="ADAL" clId="{8D2B4F8B-645F-482E-A867-56D9A41DB3EB}" dt="2023-11-15T08:37:43" v="68" actId="478"/>
          <ac:spMkLst>
            <pc:docMk/>
            <pc:sldMk cId="4081753019" sldId="1228"/>
            <ac:spMk id="47" creationId="{00000000-0000-0000-0000-000000000000}"/>
          </ac:spMkLst>
        </pc:spChg>
        <pc:graphicFrameChg chg="mod modGraphic">
          <ac:chgData name="Devraj, Keerthi (DI SW ICS DVT CSF DV FS)" userId="a61e6969-d85e-42d5-913e-c7fe6fb96353" providerId="ADAL" clId="{8D2B4F8B-645F-482E-A867-56D9A41DB3EB}" dt="2023-11-15T08:40:31.511" v="89" actId="20577"/>
          <ac:graphicFrameMkLst>
            <pc:docMk/>
            <pc:sldMk cId="4081753019" sldId="1228"/>
            <ac:graphicFrameMk id="55" creationId="{00000000-0000-0000-0000-000000000000}"/>
          </ac:graphicFrameMkLst>
        </pc:graphicFrameChg>
      </pc:sldChg>
      <pc:sldChg chg="addSp delSp modSp add mod">
        <pc:chgData name="Devraj, Keerthi (DI SW ICS DVT CSF DV FS)" userId="a61e6969-d85e-42d5-913e-c7fe6fb96353" providerId="ADAL" clId="{8D2B4F8B-645F-482E-A867-56D9A41DB3EB}" dt="2023-11-15T10:42:50.924" v="2061" actId="1076"/>
        <pc:sldMkLst>
          <pc:docMk/>
          <pc:sldMk cId="2660355366" sldId="1229"/>
        </pc:sldMkLst>
        <pc:spChg chg="del">
          <ac:chgData name="Devraj, Keerthi (DI SW ICS DVT CSF DV FS)" userId="a61e6969-d85e-42d5-913e-c7fe6fb96353" providerId="ADAL" clId="{8D2B4F8B-645F-482E-A867-56D9A41DB3EB}" dt="2023-11-15T10:42:18.076" v="2047" actId="478"/>
          <ac:spMkLst>
            <pc:docMk/>
            <pc:sldMk cId="2660355366" sldId="1229"/>
            <ac:spMk id="2" creationId="{33AF1C01-6A31-F3F5-A6E6-37987B485DC5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42:41.035" v="2059" actId="1036"/>
          <ac:spMkLst>
            <pc:docMk/>
            <pc:sldMk cId="2660355366" sldId="1229"/>
            <ac:spMk id="4" creationId="{EFB2F3C5-AD26-905D-7689-5CCD15FB1283}"/>
          </ac:spMkLst>
        </pc:spChg>
        <pc:spChg chg="del">
          <ac:chgData name="Devraj, Keerthi (DI SW ICS DVT CSF DV FS)" userId="a61e6969-d85e-42d5-913e-c7fe6fb96353" providerId="ADAL" clId="{8D2B4F8B-645F-482E-A867-56D9A41DB3EB}" dt="2023-11-15T10:42:18.076" v="2047" actId="478"/>
          <ac:spMkLst>
            <pc:docMk/>
            <pc:sldMk cId="2660355366" sldId="1229"/>
            <ac:spMk id="6" creationId="{138BD041-7285-8796-D480-300DB5C3ECC8}"/>
          </ac:spMkLst>
        </pc:spChg>
        <pc:spChg chg="del">
          <ac:chgData name="Devraj, Keerthi (DI SW ICS DVT CSF DV FS)" userId="a61e6969-d85e-42d5-913e-c7fe6fb96353" providerId="ADAL" clId="{8D2B4F8B-645F-482E-A867-56D9A41DB3EB}" dt="2023-11-15T10:42:18.076" v="2047" actId="478"/>
          <ac:spMkLst>
            <pc:docMk/>
            <pc:sldMk cId="2660355366" sldId="1229"/>
            <ac:spMk id="7" creationId="{613C82DD-AD5C-D11A-41EB-E5D4D113EC9E}"/>
          </ac:spMkLst>
        </pc:spChg>
        <pc:spChg chg="del">
          <ac:chgData name="Devraj, Keerthi (DI SW ICS DVT CSF DV FS)" userId="a61e6969-d85e-42d5-913e-c7fe6fb96353" providerId="ADAL" clId="{8D2B4F8B-645F-482E-A867-56D9A41DB3EB}" dt="2023-11-15T10:42:18.076" v="2047" actId="478"/>
          <ac:spMkLst>
            <pc:docMk/>
            <pc:sldMk cId="2660355366" sldId="1229"/>
            <ac:spMk id="8" creationId="{E7D5B3FD-7322-9AB2-D172-254351E4A688}"/>
          </ac:spMkLst>
        </pc:spChg>
        <pc:spChg chg="del">
          <ac:chgData name="Devraj, Keerthi (DI SW ICS DVT CSF DV FS)" userId="a61e6969-d85e-42d5-913e-c7fe6fb96353" providerId="ADAL" clId="{8D2B4F8B-645F-482E-A867-56D9A41DB3EB}" dt="2023-11-15T10:42:18.076" v="2047" actId="478"/>
          <ac:spMkLst>
            <pc:docMk/>
            <pc:sldMk cId="2660355366" sldId="1229"/>
            <ac:spMk id="9" creationId="{2A6A0004-D07A-8BA3-D20F-A3DB848BDBA7}"/>
          </ac:spMkLst>
        </pc:spChg>
        <pc:spChg chg="del">
          <ac:chgData name="Devraj, Keerthi (DI SW ICS DVT CSF DV FS)" userId="a61e6969-d85e-42d5-913e-c7fe6fb96353" providerId="ADAL" clId="{8D2B4F8B-645F-482E-A867-56D9A41DB3EB}" dt="2023-11-15T10:42:18.076" v="2047" actId="478"/>
          <ac:spMkLst>
            <pc:docMk/>
            <pc:sldMk cId="2660355366" sldId="1229"/>
            <ac:spMk id="10" creationId="{C26B4B62-C7E1-E96A-73B6-254B015A1534}"/>
          </ac:spMkLst>
        </pc:spChg>
        <pc:spChg chg="del">
          <ac:chgData name="Devraj, Keerthi (DI SW ICS DVT CSF DV FS)" userId="a61e6969-d85e-42d5-913e-c7fe6fb96353" providerId="ADAL" clId="{8D2B4F8B-645F-482E-A867-56D9A41DB3EB}" dt="2023-11-15T10:42:18.076" v="2047" actId="478"/>
          <ac:spMkLst>
            <pc:docMk/>
            <pc:sldMk cId="2660355366" sldId="1229"/>
            <ac:spMk id="11" creationId="{266736D5-EC7D-1E76-3B29-865CBD0AD5C3}"/>
          </ac:spMkLst>
        </pc:spChg>
        <pc:spChg chg="del">
          <ac:chgData name="Devraj, Keerthi (DI SW ICS DVT CSF DV FS)" userId="a61e6969-d85e-42d5-913e-c7fe6fb96353" providerId="ADAL" clId="{8D2B4F8B-645F-482E-A867-56D9A41DB3EB}" dt="2023-11-15T10:42:18.076" v="2047" actId="478"/>
          <ac:spMkLst>
            <pc:docMk/>
            <pc:sldMk cId="2660355366" sldId="1229"/>
            <ac:spMk id="12" creationId="{99540DFB-D7DB-751A-6818-41D8D0268D34}"/>
          </ac:spMkLst>
        </pc:spChg>
        <pc:spChg chg="del">
          <ac:chgData name="Devraj, Keerthi (DI SW ICS DVT CSF DV FS)" userId="a61e6969-d85e-42d5-913e-c7fe6fb96353" providerId="ADAL" clId="{8D2B4F8B-645F-482E-A867-56D9A41DB3EB}" dt="2023-11-15T10:42:18.076" v="2047" actId="478"/>
          <ac:spMkLst>
            <pc:docMk/>
            <pc:sldMk cId="2660355366" sldId="1229"/>
            <ac:spMk id="13" creationId="{8DD4A2FA-4F0A-BF18-2164-3D7643C02940}"/>
          </ac:spMkLst>
        </pc:spChg>
        <pc:spChg chg="del">
          <ac:chgData name="Devraj, Keerthi (DI SW ICS DVT CSF DV FS)" userId="a61e6969-d85e-42d5-913e-c7fe6fb96353" providerId="ADAL" clId="{8D2B4F8B-645F-482E-A867-56D9A41DB3EB}" dt="2023-11-15T10:42:18.076" v="2047" actId="478"/>
          <ac:spMkLst>
            <pc:docMk/>
            <pc:sldMk cId="2660355366" sldId="1229"/>
            <ac:spMk id="14" creationId="{87EFC4A0-AAE3-D928-5A4F-3077BD8C4B57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42:41.035" v="2059" actId="1036"/>
          <ac:spMkLst>
            <pc:docMk/>
            <pc:sldMk cId="2660355366" sldId="1229"/>
            <ac:spMk id="15" creationId="{6699E96C-A2D9-A44A-E8B1-B44E7ACBE0A0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42:41.035" v="2059" actId="1036"/>
          <ac:spMkLst>
            <pc:docMk/>
            <pc:sldMk cId="2660355366" sldId="1229"/>
            <ac:spMk id="16" creationId="{91D14138-9949-6180-7587-D6BB60644D4C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42:41.035" v="2059" actId="1036"/>
          <ac:spMkLst>
            <pc:docMk/>
            <pc:sldMk cId="2660355366" sldId="1229"/>
            <ac:spMk id="17" creationId="{BB84BDAF-AC5E-C0B9-F771-876A5CA9ABB6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42:41.035" v="2059" actId="1036"/>
          <ac:spMkLst>
            <pc:docMk/>
            <pc:sldMk cId="2660355366" sldId="1229"/>
            <ac:spMk id="18" creationId="{FEDF6AE7-F79C-2802-83F3-26E3EF17C1CE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42:41.035" v="2059" actId="1036"/>
          <ac:spMkLst>
            <pc:docMk/>
            <pc:sldMk cId="2660355366" sldId="1229"/>
            <ac:spMk id="19" creationId="{95E45939-DD0D-4610-2BA3-3E76EE1391DA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42:41.035" v="2059" actId="1036"/>
          <ac:spMkLst>
            <pc:docMk/>
            <pc:sldMk cId="2660355366" sldId="1229"/>
            <ac:spMk id="21" creationId="{2B46041A-5A41-3221-A0B7-7896D0132AA0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42:41.035" v="2059" actId="1036"/>
          <ac:spMkLst>
            <pc:docMk/>
            <pc:sldMk cId="2660355366" sldId="1229"/>
            <ac:spMk id="22" creationId="{00CB4BE3-CC8D-922E-E8BF-47366B8EB482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42:41.035" v="2059" actId="1036"/>
          <ac:spMkLst>
            <pc:docMk/>
            <pc:sldMk cId="2660355366" sldId="1229"/>
            <ac:spMk id="23" creationId="{D5F0939C-7704-EAB9-3426-8C1DAD2D8988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42:41.035" v="2059" actId="1036"/>
          <ac:spMkLst>
            <pc:docMk/>
            <pc:sldMk cId="2660355366" sldId="1229"/>
            <ac:spMk id="24" creationId="{A5BEF277-9756-9B95-F7FD-216E2453C424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42:41.035" v="2059" actId="1036"/>
          <ac:spMkLst>
            <pc:docMk/>
            <pc:sldMk cId="2660355366" sldId="1229"/>
            <ac:spMk id="25" creationId="{EE5C2D82-5FD5-03C7-AA15-D5FDA15CB174}"/>
          </ac:spMkLst>
        </pc:spChg>
        <pc:spChg chg="add mod">
          <ac:chgData name="Devraj, Keerthi (DI SW ICS DVT CSF DV FS)" userId="a61e6969-d85e-42d5-913e-c7fe6fb96353" providerId="ADAL" clId="{8D2B4F8B-645F-482E-A867-56D9A41DB3EB}" dt="2023-11-15T10:42:41.035" v="2059" actId="1036"/>
          <ac:spMkLst>
            <pc:docMk/>
            <pc:sldMk cId="2660355366" sldId="1229"/>
            <ac:spMk id="26" creationId="{74C7C1F4-65AF-A7E7-B3C9-3492EECA5AA3}"/>
          </ac:spMkLst>
        </pc:spChg>
        <pc:spChg chg="del">
          <ac:chgData name="Devraj, Keerthi (DI SW ICS DVT CSF DV FS)" userId="a61e6969-d85e-42d5-913e-c7fe6fb96353" providerId="ADAL" clId="{8D2B4F8B-645F-482E-A867-56D9A41DB3EB}" dt="2023-11-15T10:42:18.076" v="2047" actId="478"/>
          <ac:spMkLst>
            <pc:docMk/>
            <pc:sldMk cId="2660355366" sldId="1229"/>
            <ac:spMk id="112" creationId="{5153710D-7A43-DAD2-57DB-6B7142BC216C}"/>
          </ac:spMkLst>
        </pc:spChg>
        <pc:spChg chg="del">
          <ac:chgData name="Devraj, Keerthi (DI SW ICS DVT CSF DV FS)" userId="a61e6969-d85e-42d5-913e-c7fe6fb96353" providerId="ADAL" clId="{8D2B4F8B-645F-482E-A867-56D9A41DB3EB}" dt="2023-11-15T10:42:18.076" v="2047" actId="478"/>
          <ac:spMkLst>
            <pc:docMk/>
            <pc:sldMk cId="2660355366" sldId="1229"/>
            <ac:spMk id="113" creationId="{A4500003-7F58-E021-F549-B109C34EE05C}"/>
          </ac:spMkLst>
        </pc:spChg>
        <pc:spChg chg="del">
          <ac:chgData name="Devraj, Keerthi (DI SW ICS DVT CSF DV FS)" userId="a61e6969-d85e-42d5-913e-c7fe6fb96353" providerId="ADAL" clId="{8D2B4F8B-645F-482E-A867-56D9A41DB3EB}" dt="2023-11-15T10:42:18.076" v="2047" actId="478"/>
          <ac:spMkLst>
            <pc:docMk/>
            <pc:sldMk cId="2660355366" sldId="1229"/>
            <ac:spMk id="114" creationId="{24C25E41-FBD1-AB2F-5031-A83AB5C409D2}"/>
          </ac:spMkLst>
        </pc:spChg>
        <pc:picChg chg="add mod">
          <ac:chgData name="Devraj, Keerthi (DI SW ICS DVT CSF DV FS)" userId="a61e6969-d85e-42d5-913e-c7fe6fb96353" providerId="ADAL" clId="{8D2B4F8B-645F-482E-A867-56D9A41DB3EB}" dt="2023-11-15T10:42:50.924" v="2061" actId="1076"/>
          <ac:picMkLst>
            <pc:docMk/>
            <pc:sldMk cId="2660355366" sldId="1229"/>
            <ac:picMk id="20" creationId="{480BA88B-735A-3F54-DD8C-C172BF3341D2}"/>
          </ac:picMkLst>
        </pc:picChg>
      </pc:sldChg>
      <pc:sldChg chg="addSp delSp modSp add mod">
        <pc:chgData name="Devraj, Keerthi (DI SW ICS DVT CSF DV FS)" userId="a61e6969-d85e-42d5-913e-c7fe6fb96353" providerId="ADAL" clId="{8D2B4F8B-645F-482E-A867-56D9A41DB3EB}" dt="2023-11-15T11:54:34.410" v="2324" actId="20577"/>
        <pc:sldMkLst>
          <pc:docMk/>
          <pc:sldMk cId="2177735015" sldId="1230"/>
        </pc:sldMkLst>
        <pc:spChg chg="mod">
          <ac:chgData name="Devraj, Keerthi (DI SW ICS DVT CSF DV FS)" userId="a61e6969-d85e-42d5-913e-c7fe6fb96353" providerId="ADAL" clId="{8D2B4F8B-645F-482E-A867-56D9A41DB3EB}" dt="2023-11-15T11:54:34.410" v="2324" actId="20577"/>
          <ac:spMkLst>
            <pc:docMk/>
            <pc:sldMk cId="2177735015" sldId="1230"/>
            <ac:spMk id="5" creationId="{EBA48031-2E40-656E-AACD-45B10E861454}"/>
          </ac:spMkLst>
        </pc:spChg>
        <pc:spChg chg="mod">
          <ac:chgData name="Devraj, Keerthi (DI SW ICS DVT CSF DV FS)" userId="a61e6969-d85e-42d5-913e-c7fe6fb96353" providerId="ADAL" clId="{8D2B4F8B-645F-482E-A867-56D9A41DB3EB}" dt="2023-11-15T11:00:58.689" v="2257" actId="207"/>
          <ac:spMkLst>
            <pc:docMk/>
            <pc:sldMk cId="2177735015" sldId="1230"/>
            <ac:spMk id="12" creationId="{99540DFB-D7DB-751A-6818-41D8D0268D34}"/>
          </ac:spMkLst>
        </pc:spChg>
        <pc:spChg chg="mod">
          <ac:chgData name="Devraj, Keerthi (DI SW ICS DVT CSF DV FS)" userId="a61e6969-d85e-42d5-913e-c7fe6fb96353" providerId="ADAL" clId="{8D2B4F8B-645F-482E-A867-56D9A41DB3EB}" dt="2023-11-15T10:58:25.141" v="2123" actId="207"/>
          <ac:spMkLst>
            <pc:docMk/>
            <pc:sldMk cId="2177735015" sldId="1230"/>
            <ac:spMk id="13" creationId="{8DD4A2FA-4F0A-BF18-2164-3D7643C02940}"/>
          </ac:spMkLst>
        </pc:spChg>
        <pc:spChg chg="del mod">
          <ac:chgData name="Devraj, Keerthi (DI SW ICS DVT CSF DV FS)" userId="a61e6969-d85e-42d5-913e-c7fe6fb96353" providerId="ADAL" clId="{8D2B4F8B-645F-482E-A867-56D9A41DB3EB}" dt="2023-11-15T11:00:43.833" v="2253" actId="478"/>
          <ac:spMkLst>
            <pc:docMk/>
            <pc:sldMk cId="2177735015" sldId="1230"/>
            <ac:spMk id="14" creationId="{87EFC4A0-AAE3-D928-5A4F-3077BD8C4B57}"/>
          </ac:spMkLst>
        </pc:spChg>
        <pc:spChg chg="add del">
          <ac:chgData name="Devraj, Keerthi (DI SW ICS DVT CSF DV FS)" userId="a61e6969-d85e-42d5-913e-c7fe6fb96353" providerId="ADAL" clId="{8D2B4F8B-645F-482E-A867-56D9A41DB3EB}" dt="2023-11-15T10:43:55.356" v="2068" actId="22"/>
          <ac:spMkLst>
            <pc:docMk/>
            <pc:sldMk cId="2177735015" sldId="1230"/>
            <ac:spMk id="15" creationId="{7907B971-7FC3-8236-54D5-D5A27E92B51D}"/>
          </ac:spMkLst>
        </pc:spChg>
      </pc:sldChg>
      <pc:sldChg chg="addSp delSp modSp add mod">
        <pc:chgData name="Devraj, Keerthi (DI SW ICS DVT CSF DV FS)" userId="a61e6969-d85e-42d5-913e-c7fe6fb96353" providerId="ADAL" clId="{8D2B4F8B-645F-482E-A867-56D9A41DB3EB}" dt="2023-11-15T11:54:26.489" v="2312" actId="20577"/>
        <pc:sldMkLst>
          <pc:docMk/>
          <pc:sldMk cId="531919816" sldId="1231"/>
        </pc:sldMkLst>
        <pc:spChg chg="del">
          <ac:chgData name="Devraj, Keerthi (DI SW ICS DVT CSF DV FS)" userId="a61e6969-d85e-42d5-913e-c7fe6fb96353" providerId="ADAL" clId="{8D2B4F8B-645F-482E-A867-56D9A41DB3EB}" dt="2023-11-15T11:02:01.149" v="2262" actId="478"/>
          <ac:spMkLst>
            <pc:docMk/>
            <pc:sldMk cId="531919816" sldId="1231"/>
            <ac:spMk id="4" creationId="{38F06318-C288-FE6E-9789-DF25140EFB6E}"/>
          </ac:spMkLst>
        </pc:spChg>
        <pc:spChg chg="del">
          <ac:chgData name="Devraj, Keerthi (DI SW ICS DVT CSF DV FS)" userId="a61e6969-d85e-42d5-913e-c7fe6fb96353" providerId="ADAL" clId="{8D2B4F8B-645F-482E-A867-56D9A41DB3EB}" dt="2023-11-15T11:02:03.400" v="2263" actId="478"/>
          <ac:spMkLst>
            <pc:docMk/>
            <pc:sldMk cId="531919816" sldId="1231"/>
            <ac:spMk id="5" creationId="{A0E7D3CA-D7B5-9D6F-B3EC-A46D965ECE4D}"/>
          </ac:spMkLst>
        </pc:spChg>
        <pc:spChg chg="mod">
          <ac:chgData name="Devraj, Keerthi (DI SW ICS DVT CSF DV FS)" userId="a61e6969-d85e-42d5-913e-c7fe6fb96353" providerId="ADAL" clId="{8D2B4F8B-645F-482E-A867-56D9A41DB3EB}" dt="2023-11-15T11:54:26.489" v="2312" actId="20577"/>
          <ac:spMkLst>
            <pc:docMk/>
            <pc:sldMk cId="531919816" sldId="1231"/>
            <ac:spMk id="130" creationId="{4D3DD35F-2776-D918-0DFB-B9A5C57506C7}"/>
          </ac:spMkLst>
        </pc:spChg>
        <pc:spChg chg="del">
          <ac:chgData name="Devraj, Keerthi (DI SW ICS DVT CSF DV FS)" userId="a61e6969-d85e-42d5-913e-c7fe6fb96353" providerId="ADAL" clId="{8D2B4F8B-645F-482E-A867-56D9A41DB3EB}" dt="2023-11-15T11:02:01.149" v="2262" actId="478"/>
          <ac:spMkLst>
            <pc:docMk/>
            <pc:sldMk cId="531919816" sldId="1231"/>
            <ac:spMk id="131" creationId="{FA75D8CD-A231-9041-AF3D-1506BC743C3A}"/>
          </ac:spMkLst>
        </pc:spChg>
        <pc:spChg chg="del">
          <ac:chgData name="Devraj, Keerthi (DI SW ICS DVT CSF DV FS)" userId="a61e6969-d85e-42d5-913e-c7fe6fb96353" providerId="ADAL" clId="{8D2B4F8B-645F-482E-A867-56D9A41DB3EB}" dt="2023-11-15T11:02:01.149" v="2262" actId="478"/>
          <ac:spMkLst>
            <pc:docMk/>
            <pc:sldMk cId="531919816" sldId="1231"/>
            <ac:spMk id="132" creationId="{48A5F491-6B68-ED73-BB31-47442AC90D27}"/>
          </ac:spMkLst>
        </pc:spChg>
        <pc:spChg chg="del">
          <ac:chgData name="Devraj, Keerthi (DI SW ICS DVT CSF DV FS)" userId="a61e6969-d85e-42d5-913e-c7fe6fb96353" providerId="ADAL" clId="{8D2B4F8B-645F-482E-A867-56D9A41DB3EB}" dt="2023-11-15T11:02:01.149" v="2262" actId="478"/>
          <ac:spMkLst>
            <pc:docMk/>
            <pc:sldMk cId="531919816" sldId="1231"/>
            <ac:spMk id="133" creationId="{FC74A235-159B-B4FA-827F-ACD2973A13BB}"/>
          </ac:spMkLst>
        </pc:spChg>
        <pc:spChg chg="del">
          <ac:chgData name="Devraj, Keerthi (DI SW ICS DVT CSF DV FS)" userId="a61e6969-d85e-42d5-913e-c7fe6fb96353" providerId="ADAL" clId="{8D2B4F8B-645F-482E-A867-56D9A41DB3EB}" dt="2023-11-15T11:02:01.149" v="2262" actId="478"/>
          <ac:spMkLst>
            <pc:docMk/>
            <pc:sldMk cId="531919816" sldId="1231"/>
            <ac:spMk id="134" creationId="{42F2BD2E-543F-2BB1-9A47-B3F8C15B9B8D}"/>
          </ac:spMkLst>
        </pc:spChg>
        <pc:spChg chg="del">
          <ac:chgData name="Devraj, Keerthi (DI SW ICS DVT CSF DV FS)" userId="a61e6969-d85e-42d5-913e-c7fe6fb96353" providerId="ADAL" clId="{8D2B4F8B-645F-482E-A867-56D9A41DB3EB}" dt="2023-11-15T11:02:01.149" v="2262" actId="478"/>
          <ac:spMkLst>
            <pc:docMk/>
            <pc:sldMk cId="531919816" sldId="1231"/>
            <ac:spMk id="135" creationId="{1FF864F3-5C95-C4FE-C349-3CFD580F828E}"/>
          </ac:spMkLst>
        </pc:spChg>
        <pc:spChg chg="del">
          <ac:chgData name="Devraj, Keerthi (DI SW ICS DVT CSF DV FS)" userId="a61e6969-d85e-42d5-913e-c7fe6fb96353" providerId="ADAL" clId="{8D2B4F8B-645F-482E-A867-56D9A41DB3EB}" dt="2023-11-15T11:02:01.149" v="2262" actId="478"/>
          <ac:spMkLst>
            <pc:docMk/>
            <pc:sldMk cId="531919816" sldId="1231"/>
            <ac:spMk id="136" creationId="{32A3C641-9592-9A3D-98B7-86DB4FF40A9A}"/>
          </ac:spMkLst>
        </pc:spChg>
        <pc:spChg chg="del">
          <ac:chgData name="Devraj, Keerthi (DI SW ICS DVT CSF DV FS)" userId="a61e6969-d85e-42d5-913e-c7fe6fb96353" providerId="ADAL" clId="{8D2B4F8B-645F-482E-A867-56D9A41DB3EB}" dt="2023-11-15T11:02:01.149" v="2262" actId="478"/>
          <ac:spMkLst>
            <pc:docMk/>
            <pc:sldMk cId="531919816" sldId="1231"/>
            <ac:spMk id="137" creationId="{530C8C58-2013-C438-39C4-4D9E5ABC8E24}"/>
          </ac:spMkLst>
        </pc:spChg>
        <pc:spChg chg="del">
          <ac:chgData name="Devraj, Keerthi (DI SW ICS DVT CSF DV FS)" userId="a61e6969-d85e-42d5-913e-c7fe6fb96353" providerId="ADAL" clId="{8D2B4F8B-645F-482E-A867-56D9A41DB3EB}" dt="2023-11-15T11:02:01.149" v="2262" actId="478"/>
          <ac:spMkLst>
            <pc:docMk/>
            <pc:sldMk cId="531919816" sldId="1231"/>
            <ac:spMk id="138" creationId="{E605B3CB-4B3B-24C9-BFB2-04C86FC893DE}"/>
          </ac:spMkLst>
        </pc:spChg>
        <pc:spChg chg="del">
          <ac:chgData name="Devraj, Keerthi (DI SW ICS DVT CSF DV FS)" userId="a61e6969-d85e-42d5-913e-c7fe6fb96353" providerId="ADAL" clId="{8D2B4F8B-645F-482E-A867-56D9A41DB3EB}" dt="2023-11-15T11:02:01.149" v="2262" actId="478"/>
          <ac:spMkLst>
            <pc:docMk/>
            <pc:sldMk cId="531919816" sldId="1231"/>
            <ac:spMk id="139" creationId="{8DAF71E6-EC71-79BE-68D7-A37E4EE0D983}"/>
          </ac:spMkLst>
        </pc:spChg>
        <pc:spChg chg="del">
          <ac:chgData name="Devraj, Keerthi (DI SW ICS DVT CSF DV FS)" userId="a61e6969-d85e-42d5-913e-c7fe6fb96353" providerId="ADAL" clId="{8D2B4F8B-645F-482E-A867-56D9A41DB3EB}" dt="2023-11-15T11:02:01.149" v="2262" actId="478"/>
          <ac:spMkLst>
            <pc:docMk/>
            <pc:sldMk cId="531919816" sldId="1231"/>
            <ac:spMk id="140" creationId="{89988275-496E-6629-7778-82CF53DB1FB0}"/>
          </ac:spMkLst>
        </pc:spChg>
        <pc:spChg chg="add mod">
          <ac:chgData name="Devraj, Keerthi (DI SW ICS DVT CSF DV FS)" userId="a61e6969-d85e-42d5-913e-c7fe6fb96353" providerId="ADAL" clId="{8D2B4F8B-645F-482E-A867-56D9A41DB3EB}" dt="2023-11-15T11:02:14.296" v="2265" actId="207"/>
          <ac:spMkLst>
            <pc:docMk/>
            <pc:sldMk cId="531919816" sldId="1231"/>
            <ac:spMk id="141" creationId="{7A00822B-3F5F-627B-8950-2F49573E0046}"/>
          </ac:spMkLst>
        </pc:spChg>
        <pc:spChg chg="add mod">
          <ac:chgData name="Devraj, Keerthi (DI SW ICS DVT CSF DV FS)" userId="a61e6969-d85e-42d5-913e-c7fe6fb96353" providerId="ADAL" clId="{8D2B4F8B-645F-482E-A867-56D9A41DB3EB}" dt="2023-11-15T11:51:10.303" v="2272" actId="14100"/>
          <ac:spMkLst>
            <pc:docMk/>
            <pc:sldMk cId="531919816" sldId="1231"/>
            <ac:spMk id="142" creationId="{9817B2DD-0D31-1E78-7ED6-79DEE798E91C}"/>
          </ac:spMkLst>
        </pc:spChg>
        <pc:spChg chg="add mod">
          <ac:chgData name="Devraj, Keerthi (DI SW ICS DVT CSF DV FS)" userId="a61e6969-d85e-42d5-913e-c7fe6fb96353" providerId="ADAL" clId="{8D2B4F8B-645F-482E-A867-56D9A41DB3EB}" dt="2023-11-15T11:02:08.495" v="2264"/>
          <ac:spMkLst>
            <pc:docMk/>
            <pc:sldMk cId="531919816" sldId="1231"/>
            <ac:spMk id="143" creationId="{25E0ACA4-DEBA-244B-CBC5-228030743014}"/>
          </ac:spMkLst>
        </pc:spChg>
        <pc:spChg chg="add mod">
          <ac:chgData name="Devraj, Keerthi (DI SW ICS DVT CSF DV FS)" userId="a61e6969-d85e-42d5-913e-c7fe6fb96353" providerId="ADAL" clId="{8D2B4F8B-645F-482E-A867-56D9A41DB3EB}" dt="2023-11-15T11:02:14.296" v="2265" actId="207"/>
          <ac:spMkLst>
            <pc:docMk/>
            <pc:sldMk cId="531919816" sldId="1231"/>
            <ac:spMk id="144" creationId="{4016F4F0-FA06-8B00-ABD6-E9CC7F29864F}"/>
          </ac:spMkLst>
        </pc:spChg>
        <pc:grpChg chg="del">
          <ac:chgData name="Devraj, Keerthi (DI SW ICS DVT CSF DV FS)" userId="a61e6969-d85e-42d5-913e-c7fe6fb96353" providerId="ADAL" clId="{8D2B4F8B-645F-482E-A867-56D9A41DB3EB}" dt="2023-11-15T11:02:01.149" v="2262" actId="478"/>
          <ac:grpSpMkLst>
            <pc:docMk/>
            <pc:sldMk cId="531919816" sldId="1231"/>
            <ac:grpSpMk id="6" creationId="{4025F71B-CB12-9AD2-87A1-2F1A89DF0CD5}"/>
          </ac:grpSpMkLst>
        </pc:grpChg>
        <pc:picChg chg="add mod">
          <ac:chgData name="Devraj, Keerthi (DI SW ICS DVT CSF DV FS)" userId="a61e6969-d85e-42d5-913e-c7fe6fb96353" providerId="ADAL" clId="{8D2B4F8B-645F-482E-A867-56D9A41DB3EB}" dt="2023-11-15T11:50:55.838" v="2271" actId="14100"/>
          <ac:picMkLst>
            <pc:docMk/>
            <pc:sldMk cId="531919816" sldId="1231"/>
            <ac:picMk id="2" creationId="{0A377A6F-65D1-64FE-B13E-8245E1808034}"/>
          </ac:picMkLst>
        </pc:picChg>
        <pc:cxnChg chg="mod">
          <ac:chgData name="Devraj, Keerthi (DI SW ICS DVT CSF DV FS)" userId="a61e6969-d85e-42d5-913e-c7fe6fb96353" providerId="ADAL" clId="{8D2B4F8B-645F-482E-A867-56D9A41DB3EB}" dt="2023-11-15T11:02:01.149" v="2262" actId="478"/>
          <ac:cxnSpMkLst>
            <pc:docMk/>
            <pc:sldMk cId="531919816" sldId="1231"/>
            <ac:cxnSpMk id="28" creationId="{0916F113-CFF3-6DB5-B019-7C60508400E1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01.149" v="2262" actId="478"/>
          <ac:cxnSpMkLst>
            <pc:docMk/>
            <pc:sldMk cId="531919816" sldId="1231"/>
            <ac:cxnSpMk id="29" creationId="{E2FF9F74-7459-BBDB-4866-BFEA9D156405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01.149" v="2262" actId="478"/>
          <ac:cxnSpMkLst>
            <pc:docMk/>
            <pc:sldMk cId="531919816" sldId="1231"/>
            <ac:cxnSpMk id="30" creationId="{30A8D9FB-4243-9995-A990-35AF869B78D8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01.149" v="2262" actId="478"/>
          <ac:cxnSpMkLst>
            <pc:docMk/>
            <pc:sldMk cId="531919816" sldId="1231"/>
            <ac:cxnSpMk id="31" creationId="{0B227C8C-07B5-C2F5-76EB-5EBCDBC619A2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01.149" v="2262" actId="478"/>
          <ac:cxnSpMkLst>
            <pc:docMk/>
            <pc:sldMk cId="531919816" sldId="1231"/>
            <ac:cxnSpMk id="32" creationId="{FF0758D4-9273-CFF2-74C6-EABCD66B4A0E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01.149" v="2262" actId="478"/>
          <ac:cxnSpMkLst>
            <pc:docMk/>
            <pc:sldMk cId="531919816" sldId="1231"/>
            <ac:cxnSpMk id="33" creationId="{F11C6C63-2ADF-8CF1-F669-A31CC74E562B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01.149" v="2262" actId="478"/>
          <ac:cxnSpMkLst>
            <pc:docMk/>
            <pc:sldMk cId="531919816" sldId="1231"/>
            <ac:cxnSpMk id="34" creationId="{F749B426-DEBA-E17E-1A3E-D2E96B287CF8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01.149" v="2262" actId="478"/>
          <ac:cxnSpMkLst>
            <pc:docMk/>
            <pc:sldMk cId="531919816" sldId="1231"/>
            <ac:cxnSpMk id="35" creationId="{B89DB698-60E9-66F9-BB3F-0AE7C498AFC8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01.149" v="2262" actId="478"/>
          <ac:cxnSpMkLst>
            <pc:docMk/>
            <pc:sldMk cId="531919816" sldId="1231"/>
            <ac:cxnSpMk id="36" creationId="{A06187F7-4EA1-A153-86BE-9CBB012C3136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01.149" v="2262" actId="478"/>
          <ac:cxnSpMkLst>
            <pc:docMk/>
            <pc:sldMk cId="531919816" sldId="1231"/>
            <ac:cxnSpMk id="37" creationId="{2B28F72A-FDB2-528F-B893-0C0CF4422BB8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01.149" v="2262" actId="478"/>
          <ac:cxnSpMkLst>
            <pc:docMk/>
            <pc:sldMk cId="531919816" sldId="1231"/>
            <ac:cxnSpMk id="38" creationId="{F24A4729-DFD6-6968-AC25-2110009A521F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01.149" v="2262" actId="478"/>
          <ac:cxnSpMkLst>
            <pc:docMk/>
            <pc:sldMk cId="531919816" sldId="1231"/>
            <ac:cxnSpMk id="39" creationId="{CCA44E5C-2EEC-4CCC-EE27-DF0C088498D6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01.149" v="2262" actId="478"/>
          <ac:cxnSpMkLst>
            <pc:docMk/>
            <pc:sldMk cId="531919816" sldId="1231"/>
            <ac:cxnSpMk id="40" creationId="{947E5D0A-592D-B779-A5C1-0054440C15D9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01.149" v="2262" actId="478"/>
          <ac:cxnSpMkLst>
            <pc:docMk/>
            <pc:sldMk cId="531919816" sldId="1231"/>
            <ac:cxnSpMk id="41" creationId="{83933BE8-5C30-7733-2D28-48A6D9CF01B8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01.149" v="2262" actId="478"/>
          <ac:cxnSpMkLst>
            <pc:docMk/>
            <pc:sldMk cId="531919816" sldId="1231"/>
            <ac:cxnSpMk id="42" creationId="{491F0AB0-9B58-2C83-9C6C-1DEF94F6C3FB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01.149" v="2262" actId="478"/>
          <ac:cxnSpMkLst>
            <pc:docMk/>
            <pc:sldMk cId="531919816" sldId="1231"/>
            <ac:cxnSpMk id="43" creationId="{D20680C1-5F84-377C-3343-72DECD9F56ED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01.149" v="2262" actId="478"/>
          <ac:cxnSpMkLst>
            <pc:docMk/>
            <pc:sldMk cId="531919816" sldId="1231"/>
            <ac:cxnSpMk id="44" creationId="{5F17F9FB-1584-FCE1-9F48-2B070F6D9D81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01.149" v="2262" actId="478"/>
          <ac:cxnSpMkLst>
            <pc:docMk/>
            <pc:sldMk cId="531919816" sldId="1231"/>
            <ac:cxnSpMk id="45" creationId="{C89837A2-EBBD-E6FB-8191-88996C996DDF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01.149" v="2262" actId="478"/>
          <ac:cxnSpMkLst>
            <pc:docMk/>
            <pc:sldMk cId="531919816" sldId="1231"/>
            <ac:cxnSpMk id="46" creationId="{3A3E9C46-E863-21AF-0302-6EFF58E67FC9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01.149" v="2262" actId="478"/>
          <ac:cxnSpMkLst>
            <pc:docMk/>
            <pc:sldMk cId="531919816" sldId="1231"/>
            <ac:cxnSpMk id="47" creationId="{634FB6FB-6A70-6D3E-B45A-0EA6A0B93401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01.149" v="2262" actId="478"/>
          <ac:cxnSpMkLst>
            <pc:docMk/>
            <pc:sldMk cId="531919816" sldId="1231"/>
            <ac:cxnSpMk id="48" creationId="{CDED15B2-58C1-137B-ED91-E96E80452000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01.149" v="2262" actId="478"/>
          <ac:cxnSpMkLst>
            <pc:docMk/>
            <pc:sldMk cId="531919816" sldId="1231"/>
            <ac:cxnSpMk id="49" creationId="{D4FEF568-F5C5-021B-83C0-A7FDE3388003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01.149" v="2262" actId="478"/>
          <ac:cxnSpMkLst>
            <pc:docMk/>
            <pc:sldMk cId="531919816" sldId="1231"/>
            <ac:cxnSpMk id="50" creationId="{3CC7594B-18E3-8595-31EF-92BEEA0704E5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01.149" v="2262" actId="478"/>
          <ac:cxnSpMkLst>
            <pc:docMk/>
            <pc:sldMk cId="531919816" sldId="1231"/>
            <ac:cxnSpMk id="51" creationId="{88589FAA-B089-692F-91EA-54C47ECBD1FC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01.149" v="2262" actId="478"/>
          <ac:cxnSpMkLst>
            <pc:docMk/>
            <pc:sldMk cId="531919816" sldId="1231"/>
            <ac:cxnSpMk id="52" creationId="{B041C3BC-EE46-7B03-7968-8AB8366BDEEC}"/>
          </ac:cxnSpMkLst>
        </pc:cxnChg>
      </pc:sldChg>
      <pc:sldChg chg="addSp delSp modSp add mod ord">
        <pc:chgData name="Devraj, Keerthi (DI SW ICS DVT CSF DV FS)" userId="a61e6969-d85e-42d5-913e-c7fe6fb96353" providerId="ADAL" clId="{8D2B4F8B-645F-482E-A867-56D9A41DB3EB}" dt="2023-11-15T12:07:12.653" v="2592" actId="14100"/>
        <pc:sldMkLst>
          <pc:docMk/>
          <pc:sldMk cId="2600413322" sldId="1232"/>
        </pc:sldMkLst>
        <pc:spChg chg="add mod">
          <ac:chgData name="Devraj, Keerthi (DI SW ICS DVT CSF DV FS)" userId="a61e6969-d85e-42d5-913e-c7fe6fb96353" providerId="ADAL" clId="{8D2B4F8B-645F-482E-A867-56D9A41DB3EB}" dt="2023-11-15T12:07:12.653" v="2592" actId="14100"/>
          <ac:spMkLst>
            <pc:docMk/>
            <pc:sldMk cId="2600413322" sldId="1232"/>
            <ac:spMk id="2" creationId="{FDC8711C-6956-27A5-71B1-2E0418C7FC20}"/>
          </ac:spMkLst>
        </pc:spChg>
        <pc:spChg chg="del">
          <ac:chgData name="Devraj, Keerthi (DI SW ICS DVT CSF DV FS)" userId="a61e6969-d85e-42d5-913e-c7fe6fb96353" providerId="ADAL" clId="{8D2B4F8B-645F-482E-A867-56D9A41DB3EB}" dt="2023-11-15T11:02:42.747" v="2270" actId="478"/>
          <ac:spMkLst>
            <pc:docMk/>
            <pc:sldMk cId="2600413322" sldId="1232"/>
            <ac:spMk id="4" creationId="{38F06318-C288-FE6E-9789-DF25140EFB6E}"/>
          </ac:spMkLst>
        </pc:spChg>
        <pc:spChg chg="del">
          <ac:chgData name="Devraj, Keerthi (DI SW ICS DVT CSF DV FS)" userId="a61e6969-d85e-42d5-913e-c7fe6fb96353" providerId="ADAL" clId="{8D2B4F8B-645F-482E-A867-56D9A41DB3EB}" dt="2023-11-15T11:02:42.747" v="2270" actId="478"/>
          <ac:spMkLst>
            <pc:docMk/>
            <pc:sldMk cId="2600413322" sldId="1232"/>
            <ac:spMk id="5" creationId="{A0E7D3CA-D7B5-9D6F-B3EC-A46D965ECE4D}"/>
          </ac:spMkLst>
        </pc:spChg>
        <pc:spChg chg="mod">
          <ac:chgData name="Devraj, Keerthi (DI SW ICS DVT CSF DV FS)" userId="a61e6969-d85e-42d5-913e-c7fe6fb96353" providerId="ADAL" clId="{8D2B4F8B-645F-482E-A867-56D9A41DB3EB}" dt="2023-11-15T11:54:12.313" v="2300" actId="20577"/>
          <ac:spMkLst>
            <pc:docMk/>
            <pc:sldMk cId="2600413322" sldId="1232"/>
            <ac:spMk id="130" creationId="{4D3DD35F-2776-D918-0DFB-B9A5C57506C7}"/>
          </ac:spMkLst>
        </pc:spChg>
        <pc:spChg chg="mod">
          <ac:chgData name="Devraj, Keerthi (DI SW ICS DVT CSF DV FS)" userId="a61e6969-d85e-42d5-913e-c7fe6fb96353" providerId="ADAL" clId="{8D2B4F8B-645F-482E-A867-56D9A41DB3EB}" dt="2023-11-15T11:02:38.337" v="2269" actId="2085"/>
          <ac:spMkLst>
            <pc:docMk/>
            <pc:sldMk cId="2600413322" sldId="1232"/>
            <ac:spMk id="137" creationId="{530C8C58-2013-C438-39C4-4D9E5ABC8E24}"/>
          </ac:spMkLst>
        </pc:spChg>
        <pc:spChg chg="add mod">
          <ac:chgData name="Devraj, Keerthi (DI SW ICS DVT CSF DV FS)" userId="a61e6969-d85e-42d5-913e-c7fe6fb96353" providerId="ADAL" clId="{8D2B4F8B-645F-482E-A867-56D9A41DB3EB}" dt="2023-11-15T11:53:16.959" v="2274"/>
          <ac:spMkLst>
            <pc:docMk/>
            <pc:sldMk cId="2600413322" sldId="1232"/>
            <ac:spMk id="141" creationId="{B9C3354F-B819-4CFC-4806-8D26553040E4}"/>
          </ac:spMkLst>
        </pc:spChg>
        <pc:spChg chg="add mod">
          <ac:chgData name="Devraj, Keerthi (DI SW ICS DVT CSF DV FS)" userId="a61e6969-d85e-42d5-913e-c7fe6fb96353" providerId="ADAL" clId="{8D2B4F8B-645F-482E-A867-56D9A41DB3EB}" dt="2023-11-15T11:53:24.036" v="2276" actId="113"/>
          <ac:spMkLst>
            <pc:docMk/>
            <pc:sldMk cId="2600413322" sldId="1232"/>
            <ac:spMk id="142" creationId="{361BC001-3FE6-93EB-5A36-A7EC4D1DC4A5}"/>
          </ac:spMkLst>
        </pc:spChg>
        <pc:spChg chg="add mod">
          <ac:chgData name="Devraj, Keerthi (DI SW ICS DVT CSF DV FS)" userId="a61e6969-d85e-42d5-913e-c7fe6fb96353" providerId="ADAL" clId="{8D2B4F8B-645F-482E-A867-56D9A41DB3EB}" dt="2023-11-15T11:53:42.572" v="2279" actId="207"/>
          <ac:spMkLst>
            <pc:docMk/>
            <pc:sldMk cId="2600413322" sldId="1232"/>
            <ac:spMk id="143" creationId="{7BB1AE3F-1EE0-CF73-EF44-FD4AA1DBC0A1}"/>
          </ac:spMkLst>
        </pc:spChg>
        <pc:grpChg chg="del">
          <ac:chgData name="Devraj, Keerthi (DI SW ICS DVT CSF DV FS)" userId="a61e6969-d85e-42d5-913e-c7fe6fb96353" providerId="ADAL" clId="{8D2B4F8B-645F-482E-A867-56D9A41DB3EB}" dt="2023-11-15T11:02:42.747" v="2270" actId="478"/>
          <ac:grpSpMkLst>
            <pc:docMk/>
            <pc:sldMk cId="2600413322" sldId="1232"/>
            <ac:grpSpMk id="6" creationId="{4025F71B-CB12-9AD2-87A1-2F1A89DF0CD5}"/>
          </ac:grpSpMkLst>
        </pc:grpChg>
        <pc:cxnChg chg="mod">
          <ac:chgData name="Devraj, Keerthi (DI SW ICS DVT CSF DV FS)" userId="a61e6969-d85e-42d5-913e-c7fe6fb96353" providerId="ADAL" clId="{8D2B4F8B-645F-482E-A867-56D9A41DB3EB}" dt="2023-11-15T11:02:42.747" v="2270" actId="478"/>
          <ac:cxnSpMkLst>
            <pc:docMk/>
            <pc:sldMk cId="2600413322" sldId="1232"/>
            <ac:cxnSpMk id="28" creationId="{0916F113-CFF3-6DB5-B019-7C60508400E1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42.747" v="2270" actId="478"/>
          <ac:cxnSpMkLst>
            <pc:docMk/>
            <pc:sldMk cId="2600413322" sldId="1232"/>
            <ac:cxnSpMk id="29" creationId="{E2FF9F74-7459-BBDB-4866-BFEA9D156405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42.747" v="2270" actId="478"/>
          <ac:cxnSpMkLst>
            <pc:docMk/>
            <pc:sldMk cId="2600413322" sldId="1232"/>
            <ac:cxnSpMk id="30" creationId="{30A8D9FB-4243-9995-A990-35AF869B78D8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42.747" v="2270" actId="478"/>
          <ac:cxnSpMkLst>
            <pc:docMk/>
            <pc:sldMk cId="2600413322" sldId="1232"/>
            <ac:cxnSpMk id="31" creationId="{0B227C8C-07B5-C2F5-76EB-5EBCDBC619A2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42.747" v="2270" actId="478"/>
          <ac:cxnSpMkLst>
            <pc:docMk/>
            <pc:sldMk cId="2600413322" sldId="1232"/>
            <ac:cxnSpMk id="32" creationId="{FF0758D4-9273-CFF2-74C6-EABCD66B4A0E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42.747" v="2270" actId="478"/>
          <ac:cxnSpMkLst>
            <pc:docMk/>
            <pc:sldMk cId="2600413322" sldId="1232"/>
            <ac:cxnSpMk id="33" creationId="{F11C6C63-2ADF-8CF1-F669-A31CC74E562B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42.747" v="2270" actId="478"/>
          <ac:cxnSpMkLst>
            <pc:docMk/>
            <pc:sldMk cId="2600413322" sldId="1232"/>
            <ac:cxnSpMk id="34" creationId="{F749B426-DEBA-E17E-1A3E-D2E96B287CF8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42.747" v="2270" actId="478"/>
          <ac:cxnSpMkLst>
            <pc:docMk/>
            <pc:sldMk cId="2600413322" sldId="1232"/>
            <ac:cxnSpMk id="35" creationId="{B89DB698-60E9-66F9-BB3F-0AE7C498AFC8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42.747" v="2270" actId="478"/>
          <ac:cxnSpMkLst>
            <pc:docMk/>
            <pc:sldMk cId="2600413322" sldId="1232"/>
            <ac:cxnSpMk id="36" creationId="{A06187F7-4EA1-A153-86BE-9CBB012C3136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42.747" v="2270" actId="478"/>
          <ac:cxnSpMkLst>
            <pc:docMk/>
            <pc:sldMk cId="2600413322" sldId="1232"/>
            <ac:cxnSpMk id="37" creationId="{2B28F72A-FDB2-528F-B893-0C0CF4422BB8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42.747" v="2270" actId="478"/>
          <ac:cxnSpMkLst>
            <pc:docMk/>
            <pc:sldMk cId="2600413322" sldId="1232"/>
            <ac:cxnSpMk id="38" creationId="{F24A4729-DFD6-6968-AC25-2110009A521F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42.747" v="2270" actId="478"/>
          <ac:cxnSpMkLst>
            <pc:docMk/>
            <pc:sldMk cId="2600413322" sldId="1232"/>
            <ac:cxnSpMk id="39" creationId="{CCA44E5C-2EEC-4CCC-EE27-DF0C088498D6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42.747" v="2270" actId="478"/>
          <ac:cxnSpMkLst>
            <pc:docMk/>
            <pc:sldMk cId="2600413322" sldId="1232"/>
            <ac:cxnSpMk id="40" creationId="{947E5D0A-592D-B779-A5C1-0054440C15D9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42.747" v="2270" actId="478"/>
          <ac:cxnSpMkLst>
            <pc:docMk/>
            <pc:sldMk cId="2600413322" sldId="1232"/>
            <ac:cxnSpMk id="41" creationId="{83933BE8-5C30-7733-2D28-48A6D9CF01B8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42.747" v="2270" actId="478"/>
          <ac:cxnSpMkLst>
            <pc:docMk/>
            <pc:sldMk cId="2600413322" sldId="1232"/>
            <ac:cxnSpMk id="42" creationId="{491F0AB0-9B58-2C83-9C6C-1DEF94F6C3FB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42.747" v="2270" actId="478"/>
          <ac:cxnSpMkLst>
            <pc:docMk/>
            <pc:sldMk cId="2600413322" sldId="1232"/>
            <ac:cxnSpMk id="43" creationId="{D20680C1-5F84-377C-3343-72DECD9F56ED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42.747" v="2270" actId="478"/>
          <ac:cxnSpMkLst>
            <pc:docMk/>
            <pc:sldMk cId="2600413322" sldId="1232"/>
            <ac:cxnSpMk id="44" creationId="{5F17F9FB-1584-FCE1-9F48-2B070F6D9D81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42.747" v="2270" actId="478"/>
          <ac:cxnSpMkLst>
            <pc:docMk/>
            <pc:sldMk cId="2600413322" sldId="1232"/>
            <ac:cxnSpMk id="45" creationId="{C89837A2-EBBD-E6FB-8191-88996C996DDF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42.747" v="2270" actId="478"/>
          <ac:cxnSpMkLst>
            <pc:docMk/>
            <pc:sldMk cId="2600413322" sldId="1232"/>
            <ac:cxnSpMk id="46" creationId="{3A3E9C46-E863-21AF-0302-6EFF58E67FC9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42.747" v="2270" actId="478"/>
          <ac:cxnSpMkLst>
            <pc:docMk/>
            <pc:sldMk cId="2600413322" sldId="1232"/>
            <ac:cxnSpMk id="47" creationId="{634FB6FB-6A70-6D3E-B45A-0EA6A0B93401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42.747" v="2270" actId="478"/>
          <ac:cxnSpMkLst>
            <pc:docMk/>
            <pc:sldMk cId="2600413322" sldId="1232"/>
            <ac:cxnSpMk id="48" creationId="{CDED15B2-58C1-137B-ED91-E96E80452000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42.747" v="2270" actId="478"/>
          <ac:cxnSpMkLst>
            <pc:docMk/>
            <pc:sldMk cId="2600413322" sldId="1232"/>
            <ac:cxnSpMk id="49" creationId="{D4FEF568-F5C5-021B-83C0-A7FDE3388003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42.747" v="2270" actId="478"/>
          <ac:cxnSpMkLst>
            <pc:docMk/>
            <pc:sldMk cId="2600413322" sldId="1232"/>
            <ac:cxnSpMk id="50" creationId="{3CC7594B-18E3-8595-31EF-92BEEA0704E5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42.747" v="2270" actId="478"/>
          <ac:cxnSpMkLst>
            <pc:docMk/>
            <pc:sldMk cId="2600413322" sldId="1232"/>
            <ac:cxnSpMk id="51" creationId="{88589FAA-B089-692F-91EA-54C47ECBD1FC}"/>
          </ac:cxnSpMkLst>
        </pc:cxnChg>
        <pc:cxnChg chg="mod">
          <ac:chgData name="Devraj, Keerthi (DI SW ICS DVT CSF DV FS)" userId="a61e6969-d85e-42d5-913e-c7fe6fb96353" providerId="ADAL" clId="{8D2B4F8B-645F-482E-A867-56D9A41DB3EB}" dt="2023-11-15T11:02:42.747" v="2270" actId="478"/>
          <ac:cxnSpMkLst>
            <pc:docMk/>
            <pc:sldMk cId="2600413322" sldId="1232"/>
            <ac:cxnSpMk id="52" creationId="{B041C3BC-EE46-7B03-7968-8AB8366BDEEC}"/>
          </ac:cxnSpMkLst>
        </pc:cxnChg>
      </pc:sldChg>
      <pc:sldChg chg="addSp delSp modSp add mod">
        <pc:chgData name="Devraj, Keerthi (DI SW ICS DVT CSF DV FS)" userId="a61e6969-d85e-42d5-913e-c7fe6fb96353" providerId="ADAL" clId="{8D2B4F8B-645F-482E-A867-56D9A41DB3EB}" dt="2023-11-15T12:06:48.165" v="2591" actId="208"/>
        <pc:sldMkLst>
          <pc:docMk/>
          <pc:sldMk cId="2356837834" sldId="1233"/>
        </pc:sldMkLst>
        <pc:spChg chg="del">
          <ac:chgData name="Devraj, Keerthi (DI SW ICS DVT CSF DV FS)" userId="a61e6969-d85e-42d5-913e-c7fe6fb96353" providerId="ADAL" clId="{8D2B4F8B-645F-482E-A867-56D9A41DB3EB}" dt="2023-11-15T11:57:26.113" v="2377" actId="478"/>
          <ac:spMkLst>
            <pc:docMk/>
            <pc:sldMk cId="2356837834" sldId="1233"/>
            <ac:spMk id="2" creationId="{FDC8711C-6956-27A5-71B1-2E0418C7FC20}"/>
          </ac:spMkLst>
        </pc:spChg>
        <pc:spChg chg="add del mod">
          <ac:chgData name="Devraj, Keerthi (DI SW ICS DVT CSF DV FS)" userId="a61e6969-d85e-42d5-913e-c7fe6fb96353" providerId="ADAL" clId="{8D2B4F8B-645F-482E-A867-56D9A41DB3EB}" dt="2023-11-15T12:00:31.330" v="2521" actId="14100"/>
          <ac:spMkLst>
            <pc:docMk/>
            <pc:sldMk cId="2356837834" sldId="1233"/>
            <ac:spMk id="5" creationId="{2C3C4D61-9889-1244-EEFE-05B1B6FE1E54}"/>
          </ac:spMkLst>
        </pc:spChg>
        <pc:spChg chg="add mod">
          <ac:chgData name="Devraj, Keerthi (DI SW ICS DVT CSF DV FS)" userId="a61e6969-d85e-42d5-913e-c7fe6fb96353" providerId="ADAL" clId="{8D2B4F8B-645F-482E-A867-56D9A41DB3EB}" dt="2023-11-15T11:59:28.369" v="2499" actId="1035"/>
          <ac:spMkLst>
            <pc:docMk/>
            <pc:sldMk cId="2356837834" sldId="1233"/>
            <ac:spMk id="6" creationId="{986BA285-CDD3-B6C9-9025-93599818F722}"/>
          </ac:spMkLst>
        </pc:spChg>
        <pc:spChg chg="add mod">
          <ac:chgData name="Devraj, Keerthi (DI SW ICS DVT CSF DV FS)" userId="a61e6969-d85e-42d5-913e-c7fe6fb96353" providerId="ADAL" clId="{8D2B4F8B-645F-482E-A867-56D9A41DB3EB}" dt="2023-11-15T12:01:17.331" v="2547" actId="6549"/>
          <ac:spMkLst>
            <pc:docMk/>
            <pc:sldMk cId="2356837834" sldId="1233"/>
            <ac:spMk id="7" creationId="{D138078C-F50B-6F41-4839-69837AF9A24D}"/>
          </ac:spMkLst>
        </pc:spChg>
        <pc:spChg chg="add mod">
          <ac:chgData name="Devraj, Keerthi (DI SW ICS DVT CSF DV FS)" userId="a61e6969-d85e-42d5-913e-c7fe6fb96353" providerId="ADAL" clId="{8D2B4F8B-645F-482E-A867-56D9A41DB3EB}" dt="2023-11-15T12:01:04.054" v="2529" actId="1037"/>
          <ac:spMkLst>
            <pc:docMk/>
            <pc:sldMk cId="2356837834" sldId="1233"/>
            <ac:spMk id="8" creationId="{C586ED30-6171-2BB4-E345-A9A60AFDD6EA}"/>
          </ac:spMkLst>
        </pc:spChg>
        <pc:spChg chg="add mod">
          <ac:chgData name="Devraj, Keerthi (DI SW ICS DVT CSF DV FS)" userId="a61e6969-d85e-42d5-913e-c7fe6fb96353" providerId="ADAL" clId="{8D2B4F8B-645F-482E-A867-56D9A41DB3EB}" dt="2023-11-15T12:06:48.165" v="2591" actId="208"/>
          <ac:spMkLst>
            <pc:docMk/>
            <pc:sldMk cId="2356837834" sldId="1233"/>
            <ac:spMk id="9" creationId="{D63E3B6B-7D05-237F-D522-4E5BAABBE49F}"/>
          </ac:spMkLst>
        </pc:spChg>
        <pc:spChg chg="add mod">
          <ac:chgData name="Devraj, Keerthi (DI SW ICS DVT CSF DV FS)" userId="a61e6969-d85e-42d5-913e-c7fe6fb96353" providerId="ADAL" clId="{8D2B4F8B-645F-482E-A867-56D9A41DB3EB}" dt="2023-11-15T12:06:48.165" v="2591" actId="208"/>
          <ac:spMkLst>
            <pc:docMk/>
            <pc:sldMk cId="2356837834" sldId="1233"/>
            <ac:spMk id="10" creationId="{E70F51C6-7555-C32B-DA11-B81DDE3A965F}"/>
          </ac:spMkLst>
        </pc:spChg>
        <pc:spChg chg="add mod">
          <ac:chgData name="Devraj, Keerthi (DI SW ICS DVT CSF DV FS)" userId="a61e6969-d85e-42d5-913e-c7fe6fb96353" providerId="ADAL" clId="{8D2B4F8B-645F-482E-A867-56D9A41DB3EB}" dt="2023-11-15T12:06:48.165" v="2591" actId="208"/>
          <ac:spMkLst>
            <pc:docMk/>
            <pc:sldMk cId="2356837834" sldId="1233"/>
            <ac:spMk id="11" creationId="{BB22A790-E0C9-EE14-68DA-99D14C686B70}"/>
          </ac:spMkLst>
        </pc:spChg>
        <pc:spChg chg="add mod">
          <ac:chgData name="Devraj, Keerthi (DI SW ICS DVT CSF DV FS)" userId="a61e6969-d85e-42d5-913e-c7fe6fb96353" providerId="ADAL" clId="{8D2B4F8B-645F-482E-A867-56D9A41DB3EB}" dt="2023-11-15T12:06:48.165" v="2591" actId="208"/>
          <ac:spMkLst>
            <pc:docMk/>
            <pc:sldMk cId="2356837834" sldId="1233"/>
            <ac:spMk id="12" creationId="{99D3DEA3-6F80-58F4-19D3-61A638643D16}"/>
          </ac:spMkLst>
        </pc:spChg>
        <pc:spChg chg="mod">
          <ac:chgData name="Devraj, Keerthi (DI SW ICS DVT CSF DV FS)" userId="a61e6969-d85e-42d5-913e-c7fe6fb96353" providerId="ADAL" clId="{8D2B4F8B-645F-482E-A867-56D9A41DB3EB}" dt="2023-11-15T11:54:04.809" v="2292" actId="6549"/>
          <ac:spMkLst>
            <pc:docMk/>
            <pc:sldMk cId="2356837834" sldId="1233"/>
            <ac:spMk id="130" creationId="{4D3DD35F-2776-D918-0DFB-B9A5C57506C7}"/>
          </ac:spMkLst>
        </pc:spChg>
        <pc:spChg chg="del">
          <ac:chgData name="Devraj, Keerthi (DI SW ICS DVT CSF DV FS)" userId="a61e6969-d85e-42d5-913e-c7fe6fb96353" providerId="ADAL" clId="{8D2B4F8B-645F-482E-A867-56D9A41DB3EB}" dt="2023-11-15T11:57:26.113" v="2377" actId="478"/>
          <ac:spMkLst>
            <pc:docMk/>
            <pc:sldMk cId="2356837834" sldId="1233"/>
            <ac:spMk id="131" creationId="{FA75D8CD-A231-9041-AF3D-1506BC743C3A}"/>
          </ac:spMkLst>
        </pc:spChg>
        <pc:spChg chg="del">
          <ac:chgData name="Devraj, Keerthi (DI SW ICS DVT CSF DV FS)" userId="a61e6969-d85e-42d5-913e-c7fe6fb96353" providerId="ADAL" clId="{8D2B4F8B-645F-482E-A867-56D9A41DB3EB}" dt="2023-11-15T11:57:26.113" v="2377" actId="478"/>
          <ac:spMkLst>
            <pc:docMk/>
            <pc:sldMk cId="2356837834" sldId="1233"/>
            <ac:spMk id="132" creationId="{48A5F491-6B68-ED73-BB31-47442AC90D27}"/>
          </ac:spMkLst>
        </pc:spChg>
        <pc:spChg chg="del">
          <ac:chgData name="Devraj, Keerthi (DI SW ICS DVT CSF DV FS)" userId="a61e6969-d85e-42d5-913e-c7fe6fb96353" providerId="ADAL" clId="{8D2B4F8B-645F-482E-A867-56D9A41DB3EB}" dt="2023-11-15T11:57:26.113" v="2377" actId="478"/>
          <ac:spMkLst>
            <pc:docMk/>
            <pc:sldMk cId="2356837834" sldId="1233"/>
            <ac:spMk id="133" creationId="{FC74A235-159B-B4FA-827F-ACD2973A13BB}"/>
          </ac:spMkLst>
        </pc:spChg>
        <pc:spChg chg="del">
          <ac:chgData name="Devraj, Keerthi (DI SW ICS DVT CSF DV FS)" userId="a61e6969-d85e-42d5-913e-c7fe6fb96353" providerId="ADAL" clId="{8D2B4F8B-645F-482E-A867-56D9A41DB3EB}" dt="2023-11-15T11:57:26.113" v="2377" actId="478"/>
          <ac:spMkLst>
            <pc:docMk/>
            <pc:sldMk cId="2356837834" sldId="1233"/>
            <ac:spMk id="134" creationId="{42F2BD2E-543F-2BB1-9A47-B3F8C15B9B8D}"/>
          </ac:spMkLst>
        </pc:spChg>
        <pc:spChg chg="del">
          <ac:chgData name="Devraj, Keerthi (DI SW ICS DVT CSF DV FS)" userId="a61e6969-d85e-42d5-913e-c7fe6fb96353" providerId="ADAL" clId="{8D2B4F8B-645F-482E-A867-56D9A41DB3EB}" dt="2023-11-15T11:57:26.113" v="2377" actId="478"/>
          <ac:spMkLst>
            <pc:docMk/>
            <pc:sldMk cId="2356837834" sldId="1233"/>
            <ac:spMk id="135" creationId="{1FF864F3-5C95-C4FE-C349-3CFD580F828E}"/>
          </ac:spMkLst>
        </pc:spChg>
        <pc:spChg chg="del">
          <ac:chgData name="Devraj, Keerthi (DI SW ICS DVT CSF DV FS)" userId="a61e6969-d85e-42d5-913e-c7fe6fb96353" providerId="ADAL" clId="{8D2B4F8B-645F-482E-A867-56D9A41DB3EB}" dt="2023-11-15T11:57:26.113" v="2377" actId="478"/>
          <ac:spMkLst>
            <pc:docMk/>
            <pc:sldMk cId="2356837834" sldId="1233"/>
            <ac:spMk id="136" creationId="{32A3C641-9592-9A3D-98B7-86DB4FF40A9A}"/>
          </ac:spMkLst>
        </pc:spChg>
        <pc:spChg chg="del">
          <ac:chgData name="Devraj, Keerthi (DI SW ICS DVT CSF DV FS)" userId="a61e6969-d85e-42d5-913e-c7fe6fb96353" providerId="ADAL" clId="{8D2B4F8B-645F-482E-A867-56D9A41DB3EB}" dt="2023-11-15T11:57:26.113" v="2377" actId="478"/>
          <ac:spMkLst>
            <pc:docMk/>
            <pc:sldMk cId="2356837834" sldId="1233"/>
            <ac:spMk id="137" creationId="{530C8C58-2013-C438-39C4-4D9E5ABC8E24}"/>
          </ac:spMkLst>
        </pc:spChg>
        <pc:spChg chg="del">
          <ac:chgData name="Devraj, Keerthi (DI SW ICS DVT CSF DV FS)" userId="a61e6969-d85e-42d5-913e-c7fe6fb96353" providerId="ADAL" clId="{8D2B4F8B-645F-482E-A867-56D9A41DB3EB}" dt="2023-11-15T11:57:26.113" v="2377" actId="478"/>
          <ac:spMkLst>
            <pc:docMk/>
            <pc:sldMk cId="2356837834" sldId="1233"/>
            <ac:spMk id="138" creationId="{E605B3CB-4B3B-24C9-BFB2-04C86FC893DE}"/>
          </ac:spMkLst>
        </pc:spChg>
        <pc:spChg chg="del">
          <ac:chgData name="Devraj, Keerthi (DI SW ICS DVT CSF DV FS)" userId="a61e6969-d85e-42d5-913e-c7fe6fb96353" providerId="ADAL" clId="{8D2B4F8B-645F-482E-A867-56D9A41DB3EB}" dt="2023-11-15T11:57:26.113" v="2377" actId="478"/>
          <ac:spMkLst>
            <pc:docMk/>
            <pc:sldMk cId="2356837834" sldId="1233"/>
            <ac:spMk id="139" creationId="{8DAF71E6-EC71-79BE-68D7-A37E4EE0D983}"/>
          </ac:spMkLst>
        </pc:spChg>
        <pc:spChg chg="del">
          <ac:chgData name="Devraj, Keerthi (DI SW ICS DVT CSF DV FS)" userId="a61e6969-d85e-42d5-913e-c7fe6fb96353" providerId="ADAL" clId="{8D2B4F8B-645F-482E-A867-56D9A41DB3EB}" dt="2023-11-15T11:57:26.113" v="2377" actId="478"/>
          <ac:spMkLst>
            <pc:docMk/>
            <pc:sldMk cId="2356837834" sldId="1233"/>
            <ac:spMk id="140" creationId="{89988275-496E-6629-7778-82CF53DB1FB0}"/>
          </ac:spMkLst>
        </pc:spChg>
        <pc:spChg chg="del">
          <ac:chgData name="Devraj, Keerthi (DI SW ICS DVT CSF DV FS)" userId="a61e6969-d85e-42d5-913e-c7fe6fb96353" providerId="ADAL" clId="{8D2B4F8B-645F-482E-A867-56D9A41DB3EB}" dt="2023-11-15T11:57:26.113" v="2377" actId="478"/>
          <ac:spMkLst>
            <pc:docMk/>
            <pc:sldMk cId="2356837834" sldId="1233"/>
            <ac:spMk id="141" creationId="{B9C3354F-B819-4CFC-4806-8D26553040E4}"/>
          </ac:spMkLst>
        </pc:spChg>
        <pc:spChg chg="del">
          <ac:chgData name="Devraj, Keerthi (DI SW ICS DVT CSF DV FS)" userId="a61e6969-d85e-42d5-913e-c7fe6fb96353" providerId="ADAL" clId="{8D2B4F8B-645F-482E-A867-56D9A41DB3EB}" dt="2023-11-15T11:57:26.113" v="2377" actId="478"/>
          <ac:spMkLst>
            <pc:docMk/>
            <pc:sldMk cId="2356837834" sldId="1233"/>
            <ac:spMk id="142" creationId="{361BC001-3FE6-93EB-5A36-A7EC4D1DC4A5}"/>
          </ac:spMkLst>
        </pc:spChg>
        <pc:spChg chg="del">
          <ac:chgData name="Devraj, Keerthi (DI SW ICS DVT CSF DV FS)" userId="a61e6969-d85e-42d5-913e-c7fe6fb96353" providerId="ADAL" clId="{8D2B4F8B-645F-482E-A867-56D9A41DB3EB}" dt="2023-11-15T11:57:26.113" v="2377" actId="478"/>
          <ac:spMkLst>
            <pc:docMk/>
            <pc:sldMk cId="2356837834" sldId="1233"/>
            <ac:spMk id="143" creationId="{7BB1AE3F-1EE0-CF73-EF44-FD4AA1DBC0A1}"/>
          </ac:spMkLst>
        </pc:spChg>
        <pc:picChg chg="add del mod">
          <ac:chgData name="Devraj, Keerthi (DI SW ICS DVT CSF DV FS)" userId="a61e6969-d85e-42d5-913e-c7fe6fb96353" providerId="ADAL" clId="{8D2B4F8B-645F-482E-A867-56D9A41DB3EB}" dt="2023-11-15T12:01:25.909" v="2550" actId="1076"/>
          <ac:picMkLst>
            <pc:docMk/>
            <pc:sldMk cId="2356837834" sldId="1233"/>
            <ac:picMk id="4" creationId="{0A8AEC68-F43E-C69D-FE08-F15BE9B4F065}"/>
          </ac:picMkLst>
        </pc:picChg>
        <pc:cxnChg chg="add mod">
          <ac:chgData name="Devraj, Keerthi (DI SW ICS DVT CSF DV FS)" userId="a61e6969-d85e-42d5-913e-c7fe6fb96353" providerId="ADAL" clId="{8D2B4F8B-645F-482E-A867-56D9A41DB3EB}" dt="2023-11-15T12:06:48.165" v="2591" actId="208"/>
          <ac:cxnSpMkLst>
            <pc:docMk/>
            <pc:sldMk cId="2356837834" sldId="1233"/>
            <ac:cxnSpMk id="14" creationId="{0DE76B88-1B66-DE65-83C4-4FFEE84C48BF}"/>
          </ac:cxnSpMkLst>
        </pc:cxnChg>
        <pc:cxnChg chg="add del mod">
          <ac:chgData name="Devraj, Keerthi (DI SW ICS DVT CSF DV FS)" userId="a61e6969-d85e-42d5-913e-c7fe6fb96353" providerId="ADAL" clId="{8D2B4F8B-645F-482E-A867-56D9A41DB3EB}" dt="2023-11-15T12:02:58.475" v="2579" actId="478"/>
          <ac:cxnSpMkLst>
            <pc:docMk/>
            <pc:sldMk cId="2356837834" sldId="1233"/>
            <ac:cxnSpMk id="17" creationId="{A38B390B-1590-E101-366C-7FE755987811}"/>
          </ac:cxnSpMkLst>
        </pc:cxnChg>
        <pc:cxnChg chg="add mod">
          <ac:chgData name="Devraj, Keerthi (DI SW ICS DVT CSF DV FS)" userId="a61e6969-d85e-42d5-913e-c7fe6fb96353" providerId="ADAL" clId="{8D2B4F8B-645F-482E-A867-56D9A41DB3EB}" dt="2023-11-15T12:06:48.165" v="2591" actId="208"/>
          <ac:cxnSpMkLst>
            <pc:docMk/>
            <pc:sldMk cId="2356837834" sldId="1233"/>
            <ac:cxnSpMk id="18" creationId="{9265FD75-1C47-B374-71A3-78466B3A9F2E}"/>
          </ac:cxnSpMkLst>
        </pc:cxnChg>
        <pc:cxnChg chg="add mod">
          <ac:chgData name="Devraj, Keerthi (DI SW ICS DVT CSF DV FS)" userId="a61e6969-d85e-42d5-913e-c7fe6fb96353" providerId="ADAL" clId="{8D2B4F8B-645F-482E-A867-56D9A41DB3EB}" dt="2023-11-15T12:06:48.165" v="2591" actId="208"/>
          <ac:cxnSpMkLst>
            <pc:docMk/>
            <pc:sldMk cId="2356837834" sldId="1233"/>
            <ac:cxnSpMk id="19" creationId="{1402AA64-66CC-7CA8-3ACF-44B87198927E}"/>
          </ac:cxnSpMkLst>
        </pc:cxnChg>
      </pc:sldChg>
      <pc:sldChg chg="addSp delSp modSp add mod">
        <pc:chgData name="Devraj, Keerthi (DI SW ICS DVT CSF DV FS)" userId="a61e6969-d85e-42d5-913e-c7fe6fb96353" providerId="ADAL" clId="{8D2B4F8B-645F-482E-A867-56D9A41DB3EB}" dt="2023-11-15T12:49:50.403" v="2761"/>
        <pc:sldMkLst>
          <pc:docMk/>
          <pc:sldMk cId="2222581861" sldId="1234"/>
        </pc:sldMkLst>
        <pc:spChg chg="mod">
          <ac:chgData name="Devraj, Keerthi (DI SW ICS DVT CSF DV FS)" userId="a61e6969-d85e-42d5-913e-c7fe6fb96353" providerId="ADAL" clId="{8D2B4F8B-645F-482E-A867-56D9A41DB3EB}" dt="2023-11-15T12:49:50.403" v="2761"/>
          <ac:spMkLst>
            <pc:docMk/>
            <pc:sldMk cId="2222581861" sldId="1234"/>
            <ac:spMk id="2" creationId="{30A59CE0-18CE-9447-F486-84039784745F}"/>
          </ac:spMkLst>
        </pc:spChg>
        <pc:spChg chg="del">
          <ac:chgData name="Devraj, Keerthi (DI SW ICS DVT CSF DV FS)" userId="a61e6969-d85e-42d5-913e-c7fe6fb96353" providerId="ADAL" clId="{8D2B4F8B-645F-482E-A867-56D9A41DB3EB}" dt="2023-11-15T12:10:15.813" v="2621" actId="478"/>
          <ac:spMkLst>
            <pc:docMk/>
            <pc:sldMk cId="2222581861" sldId="1234"/>
            <ac:spMk id="11" creationId="{84E06F75-E8F1-689B-7A45-AF3B5C199EF1}"/>
          </ac:spMkLst>
        </pc:spChg>
        <pc:spChg chg="del">
          <ac:chgData name="Devraj, Keerthi (DI SW ICS DVT CSF DV FS)" userId="a61e6969-d85e-42d5-913e-c7fe6fb96353" providerId="ADAL" clId="{8D2B4F8B-645F-482E-A867-56D9A41DB3EB}" dt="2023-11-15T12:10:15.813" v="2621" actId="478"/>
          <ac:spMkLst>
            <pc:docMk/>
            <pc:sldMk cId="2222581861" sldId="1234"/>
            <ac:spMk id="12" creationId="{D315D5F3-5896-9B6E-96A8-8005CE403D33}"/>
          </ac:spMkLst>
        </pc:spChg>
        <pc:spChg chg="del">
          <ac:chgData name="Devraj, Keerthi (DI SW ICS DVT CSF DV FS)" userId="a61e6969-d85e-42d5-913e-c7fe6fb96353" providerId="ADAL" clId="{8D2B4F8B-645F-482E-A867-56D9A41DB3EB}" dt="2023-11-15T12:10:15.813" v="2621" actId="478"/>
          <ac:spMkLst>
            <pc:docMk/>
            <pc:sldMk cId="2222581861" sldId="1234"/>
            <ac:spMk id="13" creationId="{66EDF46D-C444-1F33-104F-13D11A9CFE50}"/>
          </ac:spMkLst>
        </pc:spChg>
        <pc:spChg chg="del">
          <ac:chgData name="Devraj, Keerthi (DI SW ICS DVT CSF DV FS)" userId="a61e6969-d85e-42d5-913e-c7fe6fb96353" providerId="ADAL" clId="{8D2B4F8B-645F-482E-A867-56D9A41DB3EB}" dt="2023-11-15T12:10:15.813" v="2621" actId="478"/>
          <ac:spMkLst>
            <pc:docMk/>
            <pc:sldMk cId="2222581861" sldId="1234"/>
            <ac:spMk id="14" creationId="{D6C816E8-C8C8-214C-74A1-33D0FBEF25AD}"/>
          </ac:spMkLst>
        </pc:spChg>
        <pc:spChg chg="del">
          <ac:chgData name="Devraj, Keerthi (DI SW ICS DVT CSF DV FS)" userId="a61e6969-d85e-42d5-913e-c7fe6fb96353" providerId="ADAL" clId="{8D2B4F8B-645F-482E-A867-56D9A41DB3EB}" dt="2023-11-15T12:10:15.813" v="2621" actId="478"/>
          <ac:spMkLst>
            <pc:docMk/>
            <pc:sldMk cId="2222581861" sldId="1234"/>
            <ac:spMk id="15" creationId="{A142D7E8-7CA8-00FD-2081-BC811594202A}"/>
          </ac:spMkLst>
        </pc:spChg>
        <pc:spChg chg="del">
          <ac:chgData name="Devraj, Keerthi (DI SW ICS DVT CSF DV FS)" userId="a61e6969-d85e-42d5-913e-c7fe6fb96353" providerId="ADAL" clId="{8D2B4F8B-645F-482E-A867-56D9A41DB3EB}" dt="2023-11-15T12:10:15.813" v="2621" actId="478"/>
          <ac:spMkLst>
            <pc:docMk/>
            <pc:sldMk cId="2222581861" sldId="1234"/>
            <ac:spMk id="16" creationId="{C5C84DC4-567E-119F-64AF-1045ED4B2C89}"/>
          </ac:spMkLst>
        </pc:spChg>
        <pc:spChg chg="mod">
          <ac:chgData name="Devraj, Keerthi (DI SW ICS DVT CSF DV FS)" userId="a61e6969-d85e-42d5-913e-c7fe6fb96353" providerId="ADAL" clId="{8D2B4F8B-645F-482E-A867-56D9A41DB3EB}" dt="2023-11-15T12:15:15.507" v="2624"/>
          <ac:spMkLst>
            <pc:docMk/>
            <pc:sldMk cId="2222581861" sldId="1234"/>
            <ac:spMk id="27" creationId="{C4C95D44-5589-BFC1-BE45-9F9FB8890EF4}"/>
          </ac:spMkLst>
        </pc:spChg>
        <pc:spChg chg="mod">
          <ac:chgData name="Devraj, Keerthi (DI SW ICS DVT CSF DV FS)" userId="a61e6969-d85e-42d5-913e-c7fe6fb96353" providerId="ADAL" clId="{8D2B4F8B-645F-482E-A867-56D9A41DB3EB}" dt="2023-11-15T12:15:15.507" v="2624"/>
          <ac:spMkLst>
            <pc:docMk/>
            <pc:sldMk cId="2222581861" sldId="1234"/>
            <ac:spMk id="29" creationId="{37B0912F-8C07-CF61-48C0-F8D4CA64D5B2}"/>
          </ac:spMkLst>
        </pc:spChg>
        <pc:spChg chg="mod">
          <ac:chgData name="Devraj, Keerthi (DI SW ICS DVT CSF DV FS)" userId="a61e6969-d85e-42d5-913e-c7fe6fb96353" providerId="ADAL" clId="{8D2B4F8B-645F-482E-A867-56D9A41DB3EB}" dt="2023-11-15T12:15:15.507" v="2624"/>
          <ac:spMkLst>
            <pc:docMk/>
            <pc:sldMk cId="2222581861" sldId="1234"/>
            <ac:spMk id="31" creationId="{A2680190-1C82-5D2C-4F59-7B3037D15D40}"/>
          </ac:spMkLst>
        </pc:spChg>
        <pc:spChg chg="mod">
          <ac:chgData name="Devraj, Keerthi (DI SW ICS DVT CSF DV FS)" userId="a61e6969-d85e-42d5-913e-c7fe6fb96353" providerId="ADAL" clId="{8D2B4F8B-645F-482E-A867-56D9A41DB3EB}" dt="2023-11-15T12:15:15.507" v="2624"/>
          <ac:spMkLst>
            <pc:docMk/>
            <pc:sldMk cId="2222581861" sldId="1234"/>
            <ac:spMk id="33" creationId="{FD6FDB5F-0BBA-F5F4-A3F9-A0EE7CD7B74B}"/>
          </ac:spMkLst>
        </pc:spChg>
        <pc:spChg chg="mod">
          <ac:chgData name="Devraj, Keerthi (DI SW ICS DVT CSF DV FS)" userId="a61e6969-d85e-42d5-913e-c7fe6fb96353" providerId="ADAL" clId="{8D2B4F8B-645F-482E-A867-56D9A41DB3EB}" dt="2023-11-15T12:15:15.507" v="2624"/>
          <ac:spMkLst>
            <pc:docMk/>
            <pc:sldMk cId="2222581861" sldId="1234"/>
            <ac:spMk id="34" creationId="{EDFECF35-4DD0-30C2-528E-03041BDF510A}"/>
          </ac:spMkLst>
        </pc:spChg>
        <pc:spChg chg="mod">
          <ac:chgData name="Devraj, Keerthi (DI SW ICS DVT CSF DV FS)" userId="a61e6969-d85e-42d5-913e-c7fe6fb96353" providerId="ADAL" clId="{8D2B4F8B-645F-482E-A867-56D9A41DB3EB}" dt="2023-11-15T12:15:36.942" v="2626" actId="207"/>
          <ac:spMkLst>
            <pc:docMk/>
            <pc:sldMk cId="2222581861" sldId="1234"/>
            <ac:spMk id="35" creationId="{A6932963-208E-0943-D914-5CDC1F0DF101}"/>
          </ac:spMkLst>
        </pc:spChg>
        <pc:spChg chg="mod">
          <ac:chgData name="Devraj, Keerthi (DI SW ICS DVT CSF DV FS)" userId="a61e6969-d85e-42d5-913e-c7fe6fb96353" providerId="ADAL" clId="{8D2B4F8B-645F-482E-A867-56D9A41DB3EB}" dt="2023-11-15T12:15:15.507" v="2624"/>
          <ac:spMkLst>
            <pc:docMk/>
            <pc:sldMk cId="2222581861" sldId="1234"/>
            <ac:spMk id="37" creationId="{F673E944-F74F-5374-9A20-348305268AB1}"/>
          </ac:spMkLst>
        </pc:spChg>
        <pc:spChg chg="mod">
          <ac:chgData name="Devraj, Keerthi (DI SW ICS DVT CSF DV FS)" userId="a61e6969-d85e-42d5-913e-c7fe6fb96353" providerId="ADAL" clId="{8D2B4F8B-645F-482E-A867-56D9A41DB3EB}" dt="2023-11-15T12:15:15.507" v="2624"/>
          <ac:spMkLst>
            <pc:docMk/>
            <pc:sldMk cId="2222581861" sldId="1234"/>
            <ac:spMk id="38" creationId="{E6378936-524F-1258-440A-8A29D8C2331A}"/>
          </ac:spMkLst>
        </pc:spChg>
        <pc:spChg chg="add mod">
          <ac:chgData name="Devraj, Keerthi (DI SW ICS DVT CSF DV FS)" userId="a61e6969-d85e-42d5-913e-c7fe6fb96353" providerId="ADAL" clId="{8D2B4F8B-645F-482E-A867-56D9A41DB3EB}" dt="2023-11-15T12:49:50.403" v="2761"/>
          <ac:spMkLst>
            <pc:docMk/>
            <pc:sldMk cId="2222581861" sldId="1234"/>
            <ac:spMk id="40" creationId="{4BE0802D-40A0-6863-BFBD-340DC8AFC1F5}"/>
          </ac:spMkLst>
        </pc:spChg>
        <pc:spChg chg="add mod">
          <ac:chgData name="Devraj, Keerthi (DI SW ICS DVT CSF DV FS)" userId="a61e6969-d85e-42d5-913e-c7fe6fb96353" providerId="ADAL" clId="{8D2B4F8B-645F-482E-A867-56D9A41DB3EB}" dt="2023-11-15T12:49:29.843" v="2760" actId="6549"/>
          <ac:spMkLst>
            <pc:docMk/>
            <pc:sldMk cId="2222581861" sldId="1234"/>
            <ac:spMk id="41" creationId="{0B5F26FE-F561-FFB5-0FE1-96F1A00F27A6}"/>
          </ac:spMkLst>
        </pc:spChg>
        <pc:grpChg chg="del">
          <ac:chgData name="Devraj, Keerthi (DI SW ICS DVT CSF DV FS)" userId="a61e6969-d85e-42d5-913e-c7fe6fb96353" providerId="ADAL" clId="{8D2B4F8B-645F-482E-A867-56D9A41DB3EB}" dt="2023-11-15T12:10:15.813" v="2621" actId="478"/>
          <ac:grpSpMkLst>
            <pc:docMk/>
            <pc:sldMk cId="2222581861" sldId="1234"/>
            <ac:grpSpMk id="17" creationId="{39FCC1CF-AAA2-7807-7748-B3D62C0A063B}"/>
          </ac:grpSpMkLst>
        </pc:grpChg>
        <pc:grpChg chg="add mod">
          <ac:chgData name="Devraj, Keerthi (DI SW ICS DVT CSF DV FS)" userId="a61e6969-d85e-42d5-913e-c7fe6fb96353" providerId="ADAL" clId="{8D2B4F8B-645F-482E-A867-56D9A41DB3EB}" dt="2023-11-15T12:15:15.507" v="2624"/>
          <ac:grpSpMkLst>
            <pc:docMk/>
            <pc:sldMk cId="2222581861" sldId="1234"/>
            <ac:grpSpMk id="25" creationId="{146487FD-A398-BC87-6D4A-B636D7D7DBFB}"/>
          </ac:grpSpMkLst>
        </pc:grpChg>
        <pc:grpChg chg="mod">
          <ac:chgData name="Devraj, Keerthi (DI SW ICS DVT CSF DV FS)" userId="a61e6969-d85e-42d5-913e-c7fe6fb96353" providerId="ADAL" clId="{8D2B4F8B-645F-482E-A867-56D9A41DB3EB}" dt="2023-11-15T12:15:15.507" v="2624"/>
          <ac:grpSpMkLst>
            <pc:docMk/>
            <pc:sldMk cId="2222581861" sldId="1234"/>
            <ac:grpSpMk id="26" creationId="{C9929EAD-515B-5085-7613-53EA7949E666}"/>
          </ac:grpSpMkLst>
        </pc:grpChg>
        <pc:grpChg chg="mod">
          <ac:chgData name="Devraj, Keerthi (DI SW ICS DVT CSF DV FS)" userId="a61e6969-d85e-42d5-913e-c7fe6fb96353" providerId="ADAL" clId="{8D2B4F8B-645F-482E-A867-56D9A41DB3EB}" dt="2023-11-15T12:15:15.507" v="2624"/>
          <ac:grpSpMkLst>
            <pc:docMk/>
            <pc:sldMk cId="2222581861" sldId="1234"/>
            <ac:grpSpMk id="28" creationId="{448E3835-4375-6C3C-F4F4-02902B9B3863}"/>
          </ac:grpSpMkLst>
        </pc:grpChg>
        <pc:picChg chg="del">
          <ac:chgData name="Devraj, Keerthi (DI SW ICS DVT CSF DV FS)" userId="a61e6969-d85e-42d5-913e-c7fe6fb96353" providerId="ADAL" clId="{8D2B4F8B-645F-482E-A867-56D9A41DB3EB}" dt="2023-11-15T12:10:15.813" v="2621" actId="478"/>
          <ac:picMkLst>
            <pc:docMk/>
            <pc:sldMk cId="2222581861" sldId="1234"/>
            <ac:picMk id="4" creationId="{CBA59E51-E601-F333-D97D-3190696F31FB}"/>
          </ac:picMkLst>
        </pc:picChg>
        <pc:picChg chg="mod">
          <ac:chgData name="Devraj, Keerthi (DI SW ICS DVT CSF DV FS)" userId="a61e6969-d85e-42d5-913e-c7fe6fb96353" providerId="ADAL" clId="{8D2B4F8B-645F-482E-A867-56D9A41DB3EB}" dt="2023-11-15T12:15:15.507" v="2624"/>
          <ac:picMkLst>
            <pc:docMk/>
            <pc:sldMk cId="2222581861" sldId="1234"/>
            <ac:picMk id="30" creationId="{052B9D22-5A01-7726-F5C3-5BAC8E286384}"/>
          </ac:picMkLst>
        </pc:picChg>
        <pc:picChg chg="mod">
          <ac:chgData name="Devraj, Keerthi (DI SW ICS DVT CSF DV FS)" userId="a61e6969-d85e-42d5-913e-c7fe6fb96353" providerId="ADAL" clId="{8D2B4F8B-645F-482E-A867-56D9A41DB3EB}" dt="2023-11-15T12:15:15.507" v="2624"/>
          <ac:picMkLst>
            <pc:docMk/>
            <pc:sldMk cId="2222581861" sldId="1234"/>
            <ac:picMk id="32" creationId="{ED0C351E-DABE-61F5-37A1-F63AC67F4D39}"/>
          </ac:picMkLst>
        </pc:picChg>
        <pc:picChg chg="mod">
          <ac:chgData name="Devraj, Keerthi (DI SW ICS DVT CSF DV FS)" userId="a61e6969-d85e-42d5-913e-c7fe6fb96353" providerId="ADAL" clId="{8D2B4F8B-645F-482E-A867-56D9A41DB3EB}" dt="2023-11-15T12:15:15.507" v="2624"/>
          <ac:picMkLst>
            <pc:docMk/>
            <pc:sldMk cId="2222581861" sldId="1234"/>
            <ac:picMk id="36" creationId="{62E6DDE4-047F-F5C7-05F1-7843461A4B0B}"/>
          </ac:picMkLst>
        </pc:picChg>
        <pc:picChg chg="add mod">
          <ac:chgData name="Devraj, Keerthi (DI SW ICS DVT CSF DV FS)" userId="a61e6969-d85e-42d5-913e-c7fe6fb96353" providerId="ADAL" clId="{8D2B4F8B-645F-482E-A867-56D9A41DB3EB}" dt="2023-11-15T12:15:15.507" v="2624"/>
          <ac:picMkLst>
            <pc:docMk/>
            <pc:sldMk cId="2222581861" sldId="1234"/>
            <ac:picMk id="39" creationId="{56B4CD7F-3040-F546-0973-D9D22D2D6E49}"/>
          </ac:picMkLst>
        </pc:picChg>
        <pc:cxnChg chg="del">
          <ac:chgData name="Devraj, Keerthi (DI SW ICS DVT CSF DV FS)" userId="a61e6969-d85e-42d5-913e-c7fe6fb96353" providerId="ADAL" clId="{8D2B4F8B-645F-482E-A867-56D9A41DB3EB}" dt="2023-11-15T12:10:15.813" v="2621" actId="478"/>
          <ac:cxnSpMkLst>
            <pc:docMk/>
            <pc:sldMk cId="2222581861" sldId="1234"/>
            <ac:cxnSpMk id="5" creationId="{026F336B-A284-8CBF-F652-9B3D9150755F}"/>
          </ac:cxnSpMkLst>
        </pc:cxnChg>
        <pc:cxnChg chg="del">
          <ac:chgData name="Devraj, Keerthi (DI SW ICS DVT CSF DV FS)" userId="a61e6969-d85e-42d5-913e-c7fe6fb96353" providerId="ADAL" clId="{8D2B4F8B-645F-482E-A867-56D9A41DB3EB}" dt="2023-11-15T12:10:15.813" v="2621" actId="478"/>
          <ac:cxnSpMkLst>
            <pc:docMk/>
            <pc:sldMk cId="2222581861" sldId="1234"/>
            <ac:cxnSpMk id="6" creationId="{833061B8-E168-5DC1-6FFB-357FFCE6521B}"/>
          </ac:cxnSpMkLst>
        </pc:cxnChg>
        <pc:cxnChg chg="del">
          <ac:chgData name="Devraj, Keerthi (DI SW ICS DVT CSF DV FS)" userId="a61e6969-d85e-42d5-913e-c7fe6fb96353" providerId="ADAL" clId="{8D2B4F8B-645F-482E-A867-56D9A41DB3EB}" dt="2023-11-15T12:10:15.813" v="2621" actId="478"/>
          <ac:cxnSpMkLst>
            <pc:docMk/>
            <pc:sldMk cId="2222581861" sldId="1234"/>
            <ac:cxnSpMk id="7" creationId="{8EFF3DB5-7F6E-A22C-BC32-0B2BAD41994D}"/>
          </ac:cxnSpMkLst>
        </pc:cxnChg>
        <pc:cxnChg chg="del">
          <ac:chgData name="Devraj, Keerthi (DI SW ICS DVT CSF DV FS)" userId="a61e6969-d85e-42d5-913e-c7fe6fb96353" providerId="ADAL" clId="{8D2B4F8B-645F-482E-A867-56D9A41DB3EB}" dt="2023-11-15T12:10:15.813" v="2621" actId="478"/>
          <ac:cxnSpMkLst>
            <pc:docMk/>
            <pc:sldMk cId="2222581861" sldId="1234"/>
            <ac:cxnSpMk id="8" creationId="{1E0EC20A-FF8B-291C-8A08-730F13CF060B}"/>
          </ac:cxnSpMkLst>
        </pc:cxnChg>
        <pc:cxnChg chg="del">
          <ac:chgData name="Devraj, Keerthi (DI SW ICS DVT CSF DV FS)" userId="a61e6969-d85e-42d5-913e-c7fe6fb96353" providerId="ADAL" clId="{8D2B4F8B-645F-482E-A867-56D9A41DB3EB}" dt="2023-11-15T12:10:15.813" v="2621" actId="478"/>
          <ac:cxnSpMkLst>
            <pc:docMk/>
            <pc:sldMk cId="2222581861" sldId="1234"/>
            <ac:cxnSpMk id="9" creationId="{D8229452-E7E3-CBF1-6FDA-8D4DA696789B}"/>
          </ac:cxnSpMkLst>
        </pc:cxnChg>
        <pc:cxnChg chg="del">
          <ac:chgData name="Devraj, Keerthi (DI SW ICS DVT CSF DV FS)" userId="a61e6969-d85e-42d5-913e-c7fe6fb96353" providerId="ADAL" clId="{8D2B4F8B-645F-482E-A867-56D9A41DB3EB}" dt="2023-11-15T12:10:15.813" v="2621" actId="478"/>
          <ac:cxnSpMkLst>
            <pc:docMk/>
            <pc:sldMk cId="2222581861" sldId="1234"/>
            <ac:cxnSpMk id="10" creationId="{95714C94-51B4-5356-47C9-9BE04BC88796}"/>
          </ac:cxnSpMkLst>
        </pc:cxnChg>
      </pc:sldChg>
      <pc:sldChg chg="addSp delSp modSp add mod">
        <pc:chgData name="Devraj, Keerthi (DI SW ICS DVT CSF DV FS)" userId="a61e6969-d85e-42d5-913e-c7fe6fb96353" providerId="ADAL" clId="{8D2B4F8B-645F-482E-A867-56D9A41DB3EB}" dt="2023-11-15T12:45:49.528" v="2703" actId="207"/>
        <pc:sldMkLst>
          <pc:docMk/>
          <pc:sldMk cId="3569650701" sldId="1235"/>
        </pc:sldMkLst>
        <pc:spChg chg="del">
          <ac:chgData name="Devraj, Keerthi (DI SW ICS DVT CSF DV FS)" userId="a61e6969-d85e-42d5-913e-c7fe6fb96353" providerId="ADAL" clId="{8D2B4F8B-645F-482E-A867-56D9A41DB3EB}" dt="2023-11-15T12:38:50.860" v="2699" actId="478"/>
          <ac:spMkLst>
            <pc:docMk/>
            <pc:sldMk cId="3569650701" sldId="1235"/>
            <ac:spMk id="5" creationId="{2C3C4D61-9889-1244-EEFE-05B1B6FE1E54}"/>
          </ac:spMkLst>
        </pc:spChg>
        <pc:spChg chg="del">
          <ac:chgData name="Devraj, Keerthi (DI SW ICS DVT CSF DV FS)" userId="a61e6969-d85e-42d5-913e-c7fe6fb96353" providerId="ADAL" clId="{8D2B4F8B-645F-482E-A867-56D9A41DB3EB}" dt="2023-11-15T12:38:50.860" v="2699" actId="478"/>
          <ac:spMkLst>
            <pc:docMk/>
            <pc:sldMk cId="3569650701" sldId="1235"/>
            <ac:spMk id="6" creationId="{986BA285-CDD3-B6C9-9025-93599818F722}"/>
          </ac:spMkLst>
        </pc:spChg>
        <pc:spChg chg="del">
          <ac:chgData name="Devraj, Keerthi (DI SW ICS DVT CSF DV FS)" userId="a61e6969-d85e-42d5-913e-c7fe6fb96353" providerId="ADAL" clId="{8D2B4F8B-645F-482E-A867-56D9A41DB3EB}" dt="2023-11-15T12:38:50.860" v="2699" actId="478"/>
          <ac:spMkLst>
            <pc:docMk/>
            <pc:sldMk cId="3569650701" sldId="1235"/>
            <ac:spMk id="7" creationId="{D138078C-F50B-6F41-4839-69837AF9A24D}"/>
          </ac:spMkLst>
        </pc:spChg>
        <pc:spChg chg="del">
          <ac:chgData name="Devraj, Keerthi (DI SW ICS DVT CSF DV FS)" userId="a61e6969-d85e-42d5-913e-c7fe6fb96353" providerId="ADAL" clId="{8D2B4F8B-645F-482E-A867-56D9A41DB3EB}" dt="2023-11-15T12:38:50.860" v="2699" actId="478"/>
          <ac:spMkLst>
            <pc:docMk/>
            <pc:sldMk cId="3569650701" sldId="1235"/>
            <ac:spMk id="8" creationId="{C586ED30-6171-2BB4-E345-A9A60AFDD6EA}"/>
          </ac:spMkLst>
        </pc:spChg>
        <pc:spChg chg="del">
          <ac:chgData name="Devraj, Keerthi (DI SW ICS DVT CSF DV FS)" userId="a61e6969-d85e-42d5-913e-c7fe6fb96353" providerId="ADAL" clId="{8D2B4F8B-645F-482E-A867-56D9A41DB3EB}" dt="2023-11-15T12:38:50.860" v="2699" actId="478"/>
          <ac:spMkLst>
            <pc:docMk/>
            <pc:sldMk cId="3569650701" sldId="1235"/>
            <ac:spMk id="9" creationId="{D63E3B6B-7D05-237F-D522-4E5BAABBE49F}"/>
          </ac:spMkLst>
        </pc:spChg>
        <pc:spChg chg="del">
          <ac:chgData name="Devraj, Keerthi (DI SW ICS DVT CSF DV FS)" userId="a61e6969-d85e-42d5-913e-c7fe6fb96353" providerId="ADAL" clId="{8D2B4F8B-645F-482E-A867-56D9A41DB3EB}" dt="2023-11-15T12:38:50.860" v="2699" actId="478"/>
          <ac:spMkLst>
            <pc:docMk/>
            <pc:sldMk cId="3569650701" sldId="1235"/>
            <ac:spMk id="10" creationId="{E70F51C6-7555-C32B-DA11-B81DDE3A965F}"/>
          </ac:spMkLst>
        </pc:spChg>
        <pc:spChg chg="del">
          <ac:chgData name="Devraj, Keerthi (DI SW ICS DVT CSF DV FS)" userId="a61e6969-d85e-42d5-913e-c7fe6fb96353" providerId="ADAL" clId="{8D2B4F8B-645F-482E-A867-56D9A41DB3EB}" dt="2023-11-15T12:38:50.860" v="2699" actId="478"/>
          <ac:spMkLst>
            <pc:docMk/>
            <pc:sldMk cId="3569650701" sldId="1235"/>
            <ac:spMk id="11" creationId="{BB22A790-E0C9-EE14-68DA-99D14C686B70}"/>
          </ac:spMkLst>
        </pc:spChg>
        <pc:spChg chg="del">
          <ac:chgData name="Devraj, Keerthi (DI SW ICS DVT CSF DV FS)" userId="a61e6969-d85e-42d5-913e-c7fe6fb96353" providerId="ADAL" clId="{8D2B4F8B-645F-482E-A867-56D9A41DB3EB}" dt="2023-11-15T12:38:50.860" v="2699" actId="478"/>
          <ac:spMkLst>
            <pc:docMk/>
            <pc:sldMk cId="3569650701" sldId="1235"/>
            <ac:spMk id="12" creationId="{99D3DEA3-6F80-58F4-19D3-61A638643D16}"/>
          </ac:spMkLst>
        </pc:spChg>
        <pc:spChg chg="mod">
          <ac:chgData name="Devraj, Keerthi (DI SW ICS DVT CSF DV FS)" userId="a61e6969-d85e-42d5-913e-c7fe6fb96353" providerId="ADAL" clId="{8D2B4F8B-645F-482E-A867-56D9A41DB3EB}" dt="2023-11-15T12:38:45.563" v="2698" actId="20577"/>
          <ac:spMkLst>
            <pc:docMk/>
            <pc:sldMk cId="3569650701" sldId="1235"/>
            <ac:spMk id="130" creationId="{4D3DD35F-2776-D918-0DFB-B9A5C57506C7}"/>
          </ac:spMkLst>
        </pc:spChg>
        <pc:graphicFrameChg chg="add mod modGraphic">
          <ac:chgData name="Devraj, Keerthi (DI SW ICS DVT CSF DV FS)" userId="a61e6969-d85e-42d5-913e-c7fe6fb96353" providerId="ADAL" clId="{8D2B4F8B-645F-482E-A867-56D9A41DB3EB}" dt="2023-11-15T12:45:49.528" v="2703" actId="207"/>
          <ac:graphicFrameMkLst>
            <pc:docMk/>
            <pc:sldMk cId="3569650701" sldId="1235"/>
            <ac:graphicFrameMk id="2" creationId="{F93504DB-5542-1968-CA29-07F71F117111}"/>
          </ac:graphicFrameMkLst>
        </pc:graphicFrameChg>
        <pc:picChg chg="del">
          <ac:chgData name="Devraj, Keerthi (DI SW ICS DVT CSF DV FS)" userId="a61e6969-d85e-42d5-913e-c7fe6fb96353" providerId="ADAL" clId="{8D2B4F8B-645F-482E-A867-56D9A41DB3EB}" dt="2023-11-15T12:38:50.860" v="2699" actId="478"/>
          <ac:picMkLst>
            <pc:docMk/>
            <pc:sldMk cId="3569650701" sldId="1235"/>
            <ac:picMk id="4" creationId="{0A8AEC68-F43E-C69D-FE08-F15BE9B4F065}"/>
          </ac:picMkLst>
        </pc:picChg>
        <pc:cxnChg chg="del mod">
          <ac:chgData name="Devraj, Keerthi (DI SW ICS DVT CSF DV FS)" userId="a61e6969-d85e-42d5-913e-c7fe6fb96353" providerId="ADAL" clId="{8D2B4F8B-645F-482E-A867-56D9A41DB3EB}" dt="2023-11-15T12:38:50.860" v="2699" actId="478"/>
          <ac:cxnSpMkLst>
            <pc:docMk/>
            <pc:sldMk cId="3569650701" sldId="1235"/>
            <ac:cxnSpMk id="14" creationId="{0DE76B88-1B66-DE65-83C4-4FFEE84C48BF}"/>
          </ac:cxnSpMkLst>
        </pc:cxnChg>
        <pc:cxnChg chg="del mod">
          <ac:chgData name="Devraj, Keerthi (DI SW ICS DVT CSF DV FS)" userId="a61e6969-d85e-42d5-913e-c7fe6fb96353" providerId="ADAL" clId="{8D2B4F8B-645F-482E-A867-56D9A41DB3EB}" dt="2023-11-15T12:38:50.860" v="2699" actId="478"/>
          <ac:cxnSpMkLst>
            <pc:docMk/>
            <pc:sldMk cId="3569650701" sldId="1235"/>
            <ac:cxnSpMk id="18" creationId="{9265FD75-1C47-B374-71A3-78466B3A9F2E}"/>
          </ac:cxnSpMkLst>
        </pc:cxnChg>
        <pc:cxnChg chg="del mod">
          <ac:chgData name="Devraj, Keerthi (DI SW ICS DVT CSF DV FS)" userId="a61e6969-d85e-42d5-913e-c7fe6fb96353" providerId="ADAL" clId="{8D2B4F8B-645F-482E-A867-56D9A41DB3EB}" dt="2023-11-15T12:38:50.860" v="2699" actId="478"/>
          <ac:cxnSpMkLst>
            <pc:docMk/>
            <pc:sldMk cId="3569650701" sldId="1235"/>
            <ac:cxnSpMk id="19" creationId="{1402AA64-66CC-7CA8-3ACF-44B87198927E}"/>
          </ac:cxnSpMkLst>
        </pc:cxnChg>
      </pc:sldChg>
      <pc:sldMasterChg chg="delSldLayout">
        <pc:chgData name="Devraj, Keerthi (DI SW ICS DVT CSF DV FS)" userId="a61e6969-d85e-42d5-913e-c7fe6fb96353" providerId="ADAL" clId="{8D2B4F8B-645F-482E-A867-56D9A41DB3EB}" dt="2023-11-15T08:43:37.546" v="90" actId="47"/>
        <pc:sldMasterMkLst>
          <pc:docMk/>
          <pc:sldMasterMk cId="1698585145" sldId="2147483648"/>
        </pc:sldMasterMkLst>
        <pc:sldLayoutChg chg="del">
          <pc:chgData name="Devraj, Keerthi (DI SW ICS DVT CSF DV FS)" userId="a61e6969-d85e-42d5-913e-c7fe6fb96353" providerId="ADAL" clId="{8D2B4F8B-645F-482E-A867-56D9A41DB3EB}" dt="2023-11-15T08:43:37.546" v="90" actId="47"/>
          <pc:sldLayoutMkLst>
            <pc:docMk/>
            <pc:sldMasterMk cId="1698585145" sldId="2147483648"/>
            <pc:sldLayoutMk cId="426949068" sldId="2147483756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>
            <a:extLst>
              <a:ext uri="{FF2B5EF4-FFF2-40B4-BE49-F238E27FC236}">
                <a16:creationId xmlns:a16="http://schemas.microsoft.com/office/drawing/2014/main" id="{9A8492AF-21D1-4EA9-B88E-2B2469E5B0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50" b="1"/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F2C5CF11-9AB8-4366-83D6-4A911EAE67A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F1F2B9-B350-4061-A6D1-2A3340A8623F}" type="datetimeFigureOut">
              <a:rPr lang="en-US" sz="1050" smtClean="0"/>
              <a:t>6/6/2024</a:t>
            </a:fld>
            <a:endParaRPr lang="en-US" sz="105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9797856F-D8D3-4EDB-AD63-B3F84321424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5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DA566997-7A2F-418F-AC55-BAC678F9F13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en-US" sz="1050" b="1">
                <a:solidFill>
                  <a:schemeClr val="accent2"/>
                </a:solidFill>
              </a:rPr>
              <a:t>Hand out</a:t>
            </a:r>
            <a:r>
              <a:rPr lang="en-US" sz="1050">
                <a:solidFill>
                  <a:schemeClr val="accent2"/>
                </a:solidFill>
              </a:rPr>
              <a:t> </a:t>
            </a:r>
            <a:fld id="{C92BABF8-1341-4DCB-864A-D83C08BEEAE4}" type="slidenum">
              <a:rPr lang="en-US" sz="1050" smtClean="0"/>
              <a:t>‹#›</a:t>
            </a:fld>
            <a:endParaRPr lang="en-US" sz="1050"/>
          </a:p>
        </p:txBody>
      </p:sp>
      <p:pic>
        <p:nvPicPr>
          <p:cNvPr id="6" name="Siemens logo">
            <a:extLst>
              <a:ext uri="{FF2B5EF4-FFF2-40B4-BE49-F238E27FC236}">
                <a16:creationId xmlns:a16="http://schemas.microsoft.com/office/drawing/2014/main" id="{C5A460D9-E760-498F-8A06-286EB0B001C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53000" y="550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7834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6-07T22:31:16.452"/>
    </inkml:context>
    <inkml:brush xml:id="br0">
      <inkml:brushProperty name="width" value="0.035" units="cm"/>
      <inkml:brushProperty name="height" value="0.035" units="cm"/>
    </inkml:brush>
  </inkml:definitions>
  <inkml:trace contextRef="#ctx0" brushRef="#br0">0 1 24575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6-07T22:31:16.908"/>
    </inkml:context>
    <inkml:brush xml:id="br0">
      <inkml:brushProperty name="width" value="0.035" units="cm"/>
      <inkml:brushProperty name="height" value="0.035" units="cm"/>
    </inkml:brush>
  </inkml:definitions>
  <inkml:trace contextRef="#ctx0" brushRef="#br0">1 1 24575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6-07T22:31:18.310"/>
    </inkml:context>
    <inkml:brush xml:id="br0">
      <inkml:brushProperty name="width" value="0.035" units="cm"/>
      <inkml:brushProperty name="height" value="0.035" units="cm"/>
    </inkml:brush>
  </inkml:definitions>
  <inkml:trace contextRef="#ctx0" brushRef="#br0">1 0 24575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 b="1"/>
            </a:lvl1pPr>
          </a:lstStyle>
          <a:p>
            <a:endParaRPr lang="en-US"/>
          </a:p>
        </p:txBody>
      </p:sp>
      <p:sp>
        <p:nvSpPr>
          <p:cNvPr id="3" name="Date"/>
          <p:cNvSpPr>
            <a:spLocks noGrp="1"/>
          </p:cNvSpPr>
          <p:nvPr>
            <p:ph type="dt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/>
            </a:lvl1pPr>
          </a:lstStyle>
          <a:p>
            <a:fld id="{76FBC1AF-E4C9-412F-9B6D-66CD520F95DB}" type="datetimeFigureOut">
              <a:rPr lang="en-US" smtClean="0"/>
              <a:pPr/>
              <a:t>6/6/2024</a:t>
            </a:fld>
            <a:endParaRPr lang="en-US"/>
          </a:p>
        </p:txBody>
      </p:sp>
      <p:sp>
        <p:nvSpPr>
          <p:cNvPr id="4" name="Slide Image Placeholder"/>
          <p:cNvSpPr>
            <a:spLocks noGrp="1" noRot="1" noChangeAspect="1"/>
          </p:cNvSpPr>
          <p:nvPr>
            <p:ph type="sldImg" idx="2"/>
          </p:nvPr>
        </p:nvSpPr>
        <p:spPr>
          <a:xfrm>
            <a:off x="406800" y="619200"/>
            <a:ext cx="6048000" cy="3402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"/>
          <p:cNvSpPr>
            <a:spLocks noGrp="1"/>
          </p:cNvSpPr>
          <p:nvPr>
            <p:ph type="body" sz="quarter" idx="3"/>
          </p:nvPr>
        </p:nvSpPr>
        <p:spPr>
          <a:xfrm>
            <a:off x="406800" y="4575600"/>
            <a:ext cx="6048000" cy="3960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4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50"/>
            </a:lvl1pPr>
          </a:lstStyle>
          <a:p>
            <a:endParaRPr lang="en-US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50"/>
            </a:lvl1pPr>
          </a:lstStyle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73060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720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86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100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115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Importance of Software Security</a:t>
            </a:r>
          </a:p>
          <a:p>
            <a:r>
              <a:rPr lang="en-US" dirty="0"/>
              <a:t>1. Protection Against Cyberattacks</a:t>
            </a:r>
          </a:p>
          <a:p>
            <a:r>
              <a:rPr lang="en-US" dirty="0"/>
              <a:t>2. Safeguarding User Privacy</a:t>
            </a:r>
          </a:p>
          <a:p>
            <a:r>
              <a:rPr lang="en-US" dirty="0"/>
              <a:t>3. Trust and Customer Confidence</a:t>
            </a:r>
          </a:p>
          <a:p>
            <a:r>
              <a:rPr lang="en-US" dirty="0"/>
              <a:t>4. Reduction of Financial Losses</a:t>
            </a:r>
          </a:p>
          <a:p>
            <a:endParaRPr lang="en-US" b="1" dirty="0"/>
          </a:p>
          <a:p>
            <a:r>
              <a:rPr lang="en-US" b="1" dirty="0"/>
              <a:t>Importance of Application (HW) Security</a:t>
            </a:r>
          </a:p>
          <a:p>
            <a:r>
              <a:rPr lang="en-US" dirty="0"/>
              <a:t>1. Supply Chain Security</a:t>
            </a:r>
          </a:p>
          <a:p>
            <a:r>
              <a:rPr lang="en-US" dirty="0"/>
              <a:t>2. Protection Against Evolving Threats</a:t>
            </a:r>
          </a:p>
          <a:p>
            <a:r>
              <a:rPr lang="en-US" dirty="0"/>
              <a:t>3. Compliance Requirements</a:t>
            </a:r>
          </a:p>
          <a:p>
            <a:r>
              <a:rPr lang="en-US" dirty="0"/>
              <a:t>4. Secure Development Lifecycle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20986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407973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15488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OpenTitan</a:t>
            </a:r>
            <a:r>
              <a:rPr lang="en-US" dirty="0"/>
              <a:t> is the first open-source silicon root of trust (</a:t>
            </a:r>
            <a:r>
              <a:rPr lang="en-US" dirty="0" err="1"/>
              <a:t>RoT</a:t>
            </a:r>
            <a:r>
              <a:rPr lang="en-US" dirty="0"/>
              <a:t>) chip design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 root of trust is a set of functions in a computing device that is always trusted by the operating system (OS)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main goals of </a:t>
            </a:r>
            <a:r>
              <a:rPr lang="en-US" dirty="0" err="1"/>
              <a:t>OpenTitan</a:t>
            </a:r>
            <a:r>
              <a:rPr lang="en-US" dirty="0"/>
              <a:t> are to enhance transparency, security, and flexibility for hardware design (making it suitable for a wide range of devices from IoT gadgets to data center hardware)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/>
              <a:t>The design is scalable to meet the security needs of a wide range of applications, from small IoT devices to large data center hardware.</a:t>
            </a:r>
            <a:endParaRPr lang="en-US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Implements several functions to ensure hardware security like </a:t>
            </a:r>
            <a:r>
              <a:rPr lang="en-US" altLang="en-US" sz="1200" b="0" dirty="0">
                <a:latin typeface="Arial" panose="020B0604020202020204" pitchFamily="34" charset="0"/>
              </a:rPr>
              <a:t>Secure storage, Side-channel attack resistance, Secure boot, and so on…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altLang="en-US" sz="1200" b="0" dirty="0">
              <a:latin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315450" lvl="1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58697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4354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ypical secure hardware design include secure part/modules and non-secure parts/module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Due to large and complex nature of design, it is highly unlikely that a single engineer (even designers) have the full picture of the desig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o it is imperative to understand and explore the design to create or formulate cluster of design parts that are sensitive to secure elements.</a:t>
            </a:r>
          </a:p>
          <a:p>
            <a:endParaRPr lang="en-US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QAA enables design exploration and is scalable to very large designs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QAA reads the RTL design and provides user-friendly commands to isolate parts of desig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For example, one could ask QAA which are all the instances that are influenced by the AES data output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ased on the outcome, one can proceed with structural or functional analysis. </a:t>
            </a:r>
          </a:p>
          <a:p>
            <a:endParaRPr lang="en-US" b="1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34550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first step is to define which paths secure data should traverse and which paths it should avoid. </a:t>
            </a:r>
          </a:p>
          <a:p>
            <a:r>
              <a:rPr lang="en-US" dirty="0"/>
              <a:t>This is crucial for ensuring that sensitive information flows only through secure and intended channels.</a:t>
            </a:r>
          </a:p>
          <a:p>
            <a:r>
              <a:rPr lang="en-US" dirty="0"/>
              <a:t>As depicted in the diagram, we have various data paths labeled A through E, with green paths indicating secure routes and red paths highlighting potential security violation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62706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62313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1982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dd more details here if needed during presentation and explain a bit about AES and OTB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956953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89720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customXml" Target="../../customXml/item4.xml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4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7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>
            <a:extLst>
              <a:ext uri="{FF2B5EF4-FFF2-40B4-BE49-F238E27FC236}">
                <a16:creationId xmlns:a16="http://schemas.microsoft.com/office/drawing/2014/main" id="{591CD5A4-BDEB-4734-8FA5-5C3B4A08A4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714"/>
            <a:ext cx="12192000" cy="6854572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 Siemens Digital Industries Software 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2505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>
            <a:extLst>
              <a:ext uri="{FF2B5EF4-FFF2-40B4-BE49-F238E27FC236}">
                <a16:creationId xmlns:a16="http://schemas.microsoft.com/office/drawing/2014/main" id="{FEC69F24-2876-47B9-A4B6-0ADE800ECDD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1163" y="1414463"/>
            <a:ext cx="5903912" cy="4751387"/>
          </a:xfrm>
        </p:spPr>
        <p:txBody>
          <a:bodyPr/>
          <a:lstStyle>
            <a:lvl1pPr marL="180000" indent="0">
              <a:spcAft>
                <a:spcPts val="900"/>
              </a:spcAft>
              <a:buNone/>
              <a:tabLst>
                <a:tab pos="5902325" algn="r"/>
              </a:tabLst>
              <a:defRPr b="0"/>
            </a:lvl1pPr>
            <a:lvl2pPr marL="285750" indent="-28575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5902325" algn="r"/>
              </a:tabLst>
              <a:defRPr lang="en-US" sz="18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5902325" algn="r"/>
              </a:tabLst>
              <a:defRPr b="0" baseline="0"/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5902325" algn="r"/>
              </a:tabLst>
              <a:defRPr lang="en-US" sz="18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0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285750" indent="-285750"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5902325" algn="r"/>
              </a:tabLst>
              <a:defRPr sz="1800" b="0" baseline="0"/>
            </a:lvl7pPr>
            <a:lvl8pPr marL="360000" indent="0">
              <a:spcAft>
                <a:spcPts val="600"/>
              </a:spcAft>
              <a:buFont typeface="Arial" panose="020B0604020202020204" pitchFamily="34" charset="0"/>
              <a:buNone/>
              <a:tabLst>
                <a:tab pos="5902325" algn="r"/>
              </a:tabLst>
              <a:defRPr sz="1800" b="0" baseline="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1"/>
            <a:r>
              <a:rPr lang="en-US"/>
              <a:t>Bullet 1</a:t>
            </a:r>
          </a:p>
          <a:p>
            <a:pPr lvl="3"/>
            <a:r>
              <a:rPr lang="en-US"/>
              <a:t>Sub-bullet 1</a:t>
            </a:r>
          </a:p>
          <a:p>
            <a:pPr lvl="3"/>
            <a:r>
              <a:rPr lang="en-US"/>
              <a:t>Sub-bullet 2</a:t>
            </a:r>
          </a:p>
          <a:p>
            <a:pPr lvl="2"/>
            <a:r>
              <a:rPr lang="en-US"/>
              <a:t>Bullet 2</a:t>
            </a:r>
          </a:p>
          <a:p>
            <a:pPr lvl="2"/>
            <a:r>
              <a:rPr lang="en-US"/>
              <a:t>Bullet 3</a:t>
            </a:r>
          </a:p>
          <a:p>
            <a:pPr lvl="2"/>
            <a:r>
              <a:rPr lang="en-US"/>
              <a:t>Bullet 4</a:t>
            </a:r>
          </a:p>
          <a:p>
            <a:pPr lvl="3"/>
            <a:r>
              <a:rPr lang="en-US"/>
              <a:t>Sub-bullet 1</a:t>
            </a:r>
          </a:p>
          <a:p>
            <a:pPr lvl="3"/>
            <a:r>
              <a:rPr lang="en-US"/>
              <a:t>Sub-bullet 2</a:t>
            </a:r>
          </a:p>
          <a:p>
            <a:pPr lvl="2"/>
            <a:r>
              <a:rPr lang="en-US"/>
              <a:t>Summary</a:t>
            </a:r>
          </a:p>
          <a:p>
            <a:pPr lvl="7"/>
            <a:endParaRPr lang="en-US"/>
          </a:p>
          <a:p>
            <a:pPr marL="360000" lvl="1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Restricted | © Siemens 2024  Siemens Digital Industries Software 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44B473-200A-4820-8A70-CAF4FED6507C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46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978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2206">
          <p15:clr>
            <a:srgbClr val="65CEFF"/>
          </p15:clr>
        </p15:guide>
        <p15:guide id="9" orient="horz" pos="2343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  <p15:guide id="13" pos="4248">
          <p15:clr>
            <a:srgbClr val="65CEF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1163" y="1414463"/>
            <a:ext cx="5903912" cy="4751387"/>
          </a:xfrm>
        </p:spPr>
        <p:txBody>
          <a:bodyPr/>
          <a:lstStyle>
            <a:lvl1pPr marL="180000" indent="-180000"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0"/>
            </a:lvl3pPr>
            <a:lvl4pPr marL="645750" indent="-285750">
              <a:lnSpc>
                <a:spcPct val="100000"/>
              </a:lnSpc>
              <a:spcAft>
                <a:spcPts val="900"/>
              </a:spcAft>
              <a:buFont typeface="Arial" panose="020B0604020202020204" pitchFamily="34" charset="0"/>
              <a:buChar char="•"/>
              <a:tabLst>
                <a:tab pos="5902325" algn="r"/>
              </a:tabLst>
              <a:defRPr lang="en-US" sz="18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0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645750" indent="-285750">
              <a:spcAft>
                <a:spcPts val="600"/>
              </a:spcAft>
              <a:tabLst>
                <a:tab pos="5902325" algn="r"/>
              </a:tabLst>
              <a:defRPr sz="18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1"/>
            <a:r>
              <a:rPr lang="en-US"/>
              <a:t>Bullet 1</a:t>
            </a:r>
          </a:p>
          <a:p>
            <a:pPr lvl="3"/>
            <a:r>
              <a:rPr lang="en-US"/>
              <a:t>Sub-bullet 1</a:t>
            </a:r>
          </a:p>
          <a:p>
            <a:pPr lvl="3"/>
            <a:r>
              <a:rPr lang="en-US"/>
              <a:t>Sub-bullet 2</a:t>
            </a:r>
          </a:p>
          <a:p>
            <a:pPr lvl="2"/>
            <a:r>
              <a:rPr lang="en-US"/>
              <a:t>Bullet 2</a:t>
            </a:r>
          </a:p>
          <a:p>
            <a:pPr lvl="2"/>
            <a:r>
              <a:rPr lang="en-US"/>
              <a:t>Bullet 3</a:t>
            </a:r>
          </a:p>
          <a:p>
            <a:pPr lvl="2"/>
            <a:r>
              <a:rPr lang="en-US"/>
              <a:t>Bullet 4</a:t>
            </a:r>
          </a:p>
          <a:p>
            <a:pPr lvl="3"/>
            <a:r>
              <a:rPr lang="en-US"/>
              <a:t>Sub-bullet 1</a:t>
            </a:r>
          </a:p>
          <a:p>
            <a:pPr lvl="3"/>
            <a:r>
              <a:rPr lang="en-US"/>
              <a:t>Sub-bullet 2</a:t>
            </a:r>
          </a:p>
          <a:p>
            <a:pPr lvl="2"/>
            <a:r>
              <a:rPr lang="en-US"/>
              <a:t>Summary</a:t>
            </a:r>
          </a:p>
          <a:p>
            <a:pPr marL="540000" lvl="3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Restricted | © Siemens 2024  Siemens Digital Industries Software 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44B473-200A-4820-8A70-CAF4FED6507C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5313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978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2206">
          <p15:clr>
            <a:srgbClr val="65CEFF"/>
          </p15:clr>
        </p15:guide>
        <p15:guide id="9" orient="horz" pos="2343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  <p15:guide id="13" pos="4248">
          <p15:clr>
            <a:srgbClr val="65CEF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Restricted | © Siemens 2024  Siemens Digital Industries Software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44B473-200A-4820-8A70-CAF4FED6507C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17436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Restricted | © Siemens 2024  Siemens Digital Industries Software 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44B473-200A-4820-8A70-CAF4FED6507C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7122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6" pos="4975">
          <p15:clr>
            <a:srgbClr val="65CEFF"/>
          </p15:clr>
        </p15:guide>
        <p15:guide id="7" pos="5157">
          <p15:clr>
            <a:srgbClr val="65CEFF"/>
          </p15:clr>
        </p15:guide>
        <p15:guide id="8" pos="6472">
          <p15:clr>
            <a:srgbClr val="65CEFF"/>
          </p15:clr>
        </p15:guide>
        <p15:guide id="9" pos="7425">
          <p15:clr>
            <a:srgbClr val="65CEFF"/>
          </p15:clr>
        </p15:guide>
        <p15:guide id="10" orient="horz" pos="302">
          <p15:clr>
            <a:srgbClr val="65CEFF"/>
          </p15:clr>
        </p15:guide>
        <p15:guide id="11" orient="horz" pos="664">
          <p15:clr>
            <a:srgbClr val="65CEFF"/>
          </p15:clr>
        </p15:guide>
        <p15:guide id="12" orient="horz" pos="891">
          <p15:clr>
            <a:srgbClr val="65CEFF"/>
          </p15:clr>
        </p15:guide>
        <p15:guide id="13" orient="horz" pos="2206">
          <p15:clr>
            <a:srgbClr val="65CEFF"/>
          </p15:clr>
        </p15:guide>
        <p15:guide id="14" orient="horz" pos="2343">
          <p15:clr>
            <a:srgbClr val="65CEFF"/>
          </p15:clr>
        </p15:guide>
        <p15:guide id="15" orient="horz" pos="3658">
          <p15:clr>
            <a:srgbClr val="65CEFF"/>
          </p15:clr>
        </p15:guide>
        <p15:guide id="16" orient="horz" pos="3885">
          <p15:clr>
            <a:srgbClr val="65CEFF"/>
          </p15:clr>
        </p15:guide>
        <p15:guide id="17" orient="horz" pos="4157">
          <p15:clr>
            <a:srgbClr val="65CE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Restricted | © Siemens 2024  Siemens Digital Industries Software 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44B473-200A-4820-8A70-CAF4FED6507C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11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30778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410400" y="727588"/>
            <a:ext cx="9863997" cy="412219"/>
          </a:xfrm>
        </p:spPr>
        <p:txBody>
          <a:bodyPr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2064147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6" pos="4975">
          <p15:clr>
            <a:srgbClr val="65CEFF"/>
          </p15:clr>
        </p15:guide>
        <p15:guide id="7" pos="5157">
          <p15:clr>
            <a:srgbClr val="65CEFF"/>
          </p15:clr>
        </p15:guide>
        <p15:guide id="8" pos="6472">
          <p15:clr>
            <a:srgbClr val="65CEFF"/>
          </p15:clr>
        </p15:guide>
        <p15:guide id="9" pos="7425">
          <p15:clr>
            <a:srgbClr val="65CEFF"/>
          </p15:clr>
        </p15:guide>
        <p15:guide id="10" orient="horz" pos="302">
          <p15:clr>
            <a:srgbClr val="65CEFF"/>
          </p15:clr>
        </p15:guide>
        <p15:guide id="11" orient="horz" pos="664">
          <p15:clr>
            <a:srgbClr val="65CEFF"/>
          </p15:clr>
        </p15:guide>
        <p15:guide id="12" orient="horz" pos="891">
          <p15:clr>
            <a:srgbClr val="65CEFF"/>
          </p15:clr>
        </p15:guide>
        <p15:guide id="13" orient="horz" pos="2206">
          <p15:clr>
            <a:srgbClr val="65CEFF"/>
          </p15:clr>
        </p15:guide>
        <p15:guide id="14" orient="horz" pos="2343">
          <p15:clr>
            <a:srgbClr val="65CEFF"/>
          </p15:clr>
        </p15:guide>
        <p15:guide id="15" orient="horz" pos="3658">
          <p15:clr>
            <a:srgbClr val="65CEFF"/>
          </p15:clr>
        </p15:guide>
        <p15:guide id="16" orient="horz" pos="3885">
          <p15:clr>
            <a:srgbClr val="65CEFF"/>
          </p15:clr>
        </p15:guide>
        <p15:guide id="17" orient="horz" pos="4157">
          <p15:clr>
            <a:srgbClr val="65CEF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Restricted | © Siemens 2024  Siemens Digital Industries Software 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44B473-200A-4820-8A70-CAF4FED6507C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39194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6" pos="4975">
          <p15:clr>
            <a:srgbClr val="65CEFF"/>
          </p15:clr>
        </p15:guide>
        <p15:guide id="7" pos="5157">
          <p15:clr>
            <a:srgbClr val="65CEFF"/>
          </p15:clr>
        </p15:guide>
        <p15:guide id="8" pos="6472">
          <p15:clr>
            <a:srgbClr val="65CEFF"/>
          </p15:clr>
        </p15:guide>
        <p15:guide id="9" pos="7425">
          <p15:clr>
            <a:srgbClr val="65CEFF"/>
          </p15:clr>
        </p15:guide>
        <p15:guide id="10" orient="horz" pos="302">
          <p15:clr>
            <a:srgbClr val="65CEFF"/>
          </p15:clr>
        </p15:guide>
        <p15:guide id="11" orient="horz" pos="664">
          <p15:clr>
            <a:srgbClr val="65CEFF"/>
          </p15:clr>
        </p15:guide>
        <p15:guide id="12" orient="horz" pos="891">
          <p15:clr>
            <a:srgbClr val="65CEFF"/>
          </p15:clr>
        </p15:guide>
        <p15:guide id="13" orient="horz" pos="2206">
          <p15:clr>
            <a:srgbClr val="65CEFF"/>
          </p15:clr>
        </p15:guide>
        <p15:guide id="14" orient="horz" pos="2343">
          <p15:clr>
            <a:srgbClr val="65CEFF"/>
          </p15:clr>
        </p15:guide>
        <p15:guide id="15" orient="horz" pos="3658">
          <p15:clr>
            <a:srgbClr val="65CEFF"/>
          </p15:clr>
        </p15:guide>
        <p15:guide id="16" orient="horz" pos="3885">
          <p15:clr>
            <a:srgbClr val="65CEFF"/>
          </p15:clr>
        </p15:guide>
        <p15:guide id="17" orient="horz" pos="4157">
          <p15:clr>
            <a:srgbClr val="65CEF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Restricted | © Siemens 2024  Siemens Digital Industries Software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44B473-200A-4820-8A70-CAF4FED6507C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30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One object (small)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Restricted | © Siemens 2024  Siemens Digital Industries Software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44B473-200A-4820-8A70-CAF4FED6507C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12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30778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410400" y="727588"/>
            <a:ext cx="9863997" cy="412219"/>
          </a:xfrm>
        </p:spPr>
        <p:txBody>
          <a:bodyPr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1110243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Restricted | © Siemens 2024  Siemens Digital Industries Software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44B473-200A-4820-8A70-CAF4FED6507C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716923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One object (large)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Restricted | © Siemens 2024  Siemens Digital Industries Software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44B473-200A-4820-8A70-CAF4FED6507C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30778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410400" y="727588"/>
            <a:ext cx="9863997" cy="412219"/>
          </a:xfrm>
        </p:spPr>
        <p:txBody>
          <a:bodyPr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3253021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 Siemens Digital Industries Software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942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6472" userDrawn="1">
          <p15:clr>
            <a:srgbClr val="65CEFF"/>
          </p15:clr>
        </p15:guide>
        <p15:guide id="4" pos="7425" userDrawn="1">
          <p15:clr>
            <a:srgbClr val="65CEFF"/>
          </p15:clr>
        </p15:guide>
        <p15:guide id="5" orient="horz" pos="302" userDrawn="1">
          <p15:clr>
            <a:srgbClr val="65CEFF"/>
          </p15:clr>
        </p15:guide>
        <p15:guide id="6" orient="horz" pos="664" userDrawn="1">
          <p15:clr>
            <a:srgbClr val="65CEFF"/>
          </p15:clr>
        </p15:guide>
        <p15:guide id="7" orient="horz" pos="891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Restricted | © Siemens 2024  Siemens Digital Industries Software 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44B473-200A-4820-8A70-CAF4FED6507C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490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s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Restricted | © Siemens 2024  Siemens Digital Industries Software 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44B473-200A-4820-8A70-CAF4FED6507C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12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30778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410400" y="727588"/>
            <a:ext cx="9863997" cy="412219"/>
          </a:xfrm>
        </p:spPr>
        <p:txBody>
          <a:bodyPr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18499624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Restricted | © Siemens 2024  Siemens Digital Industries Software 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6C44B473-200A-4820-8A70-CAF4FED6507C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85261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columns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Restricted | © Siemens 2024  Siemens Digital Industries Software 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6C44B473-200A-4820-8A70-CAF4FED6507C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13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30778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Content Placeholder 8"/>
          <p:cNvSpPr>
            <a:spLocks noGrp="1"/>
          </p:cNvSpPr>
          <p:nvPr>
            <p:ph sz="quarter" idx="15" hasCustomPrompt="1"/>
          </p:nvPr>
        </p:nvSpPr>
        <p:spPr>
          <a:xfrm>
            <a:off x="410400" y="727588"/>
            <a:ext cx="9863997" cy="412219"/>
          </a:xfrm>
        </p:spPr>
        <p:txBody>
          <a:bodyPr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26187117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Restricted | © Siemens 2024  Siemens Digital Industries Software 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C44B473-200A-4820-8A70-CAF4FED6507C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72009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our objects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Restricted | © Siemens 2024  Siemens Digital Industries Software 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C44B473-200A-4820-8A70-CAF4FED6507C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14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30778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Content Placeholder 8"/>
          <p:cNvSpPr>
            <a:spLocks noGrp="1"/>
          </p:cNvSpPr>
          <p:nvPr>
            <p:ph sz="quarter" idx="16" hasCustomPrompt="1"/>
          </p:nvPr>
        </p:nvSpPr>
        <p:spPr>
          <a:xfrm>
            <a:off x="410400" y="727588"/>
            <a:ext cx="9863997" cy="412219"/>
          </a:xfrm>
        </p:spPr>
        <p:txBody>
          <a:bodyPr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31557885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Restricted | © Siemens 2024  Siemens Digital Industries Software 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6C44B473-200A-4820-8A70-CAF4FED6507C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69954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s (Spotlight)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Restricted | © Siemens 2024  Siemens Digital Industries Software 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6C44B473-200A-4820-8A70-CAF4FED6507C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11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30778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8"/>
          <p:cNvSpPr>
            <a:spLocks noGrp="1"/>
          </p:cNvSpPr>
          <p:nvPr>
            <p:ph sz="quarter" idx="15" hasCustomPrompt="1"/>
          </p:nvPr>
        </p:nvSpPr>
        <p:spPr>
          <a:xfrm>
            <a:off x="410400" y="727588"/>
            <a:ext cx="9863997" cy="412219"/>
          </a:xfrm>
        </p:spPr>
        <p:txBody>
          <a:bodyPr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1020010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3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Restricted | © Siemens 2024  Siemens Digital Industries Software 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6C44B473-200A-4820-8A70-CAF4FED6507C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76557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4812" y="1414461"/>
            <a:ext cx="11376026" cy="43920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Restricted | © Siemens 2024  Siemens Digital Industries Software 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6C44B473-200A-4820-8A70-CAF4FED6507C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31137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Restricted | © Siemens 2024  Siemens Digital Industries Software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654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One table (large)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4812" y="1414461"/>
            <a:ext cx="11376026" cy="43920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Restricted | © Siemens 2024  Siemens Digital Industries Software 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6C44B473-200A-4820-8A70-CAF4FED6507C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  <p:sp>
        <p:nvSpPr>
          <p:cNvPr id="11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30778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8"/>
          <p:cNvSpPr>
            <a:spLocks noGrp="1"/>
          </p:cNvSpPr>
          <p:nvPr>
            <p:ph sz="quarter" idx="15" hasCustomPrompt="1"/>
          </p:nvPr>
        </p:nvSpPr>
        <p:spPr>
          <a:xfrm>
            <a:off x="410400" y="727588"/>
            <a:ext cx="9863997" cy="412219"/>
          </a:xfrm>
        </p:spPr>
        <p:txBody>
          <a:bodyPr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subtitle styles</a:t>
            </a:r>
          </a:p>
        </p:txBody>
      </p:sp>
    </p:spTree>
    <p:extLst>
      <p:ext uri="{BB962C8B-B14F-4D97-AF65-F5344CB8AC3E}">
        <p14:creationId xmlns:p14="http://schemas.microsoft.com/office/powerpoint/2010/main" val="3748951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Restricted | © Siemens 2024  Siemens Digital Industries Software 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6C44B473-200A-4820-8A70-CAF4FED6507C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5562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Restricted | © Siemens 2024  Siemens Digital Industries Software 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6C44B473-200A-4820-8A70-CAF4FED6507C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62672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163" y="1234800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Department etc.</a:t>
            </a:r>
          </a:p>
          <a:p>
            <a:pPr lvl="3"/>
            <a:r>
              <a:rPr lang="en-US"/>
              <a:t>subchapter</a:t>
            </a:r>
          </a:p>
          <a:p>
            <a:pPr lvl="4"/>
            <a:r>
              <a:rPr lang="en-US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Restricted | © Siemens 2024  Siemens Digital Industries Software 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44B473-200A-4820-8A70-CAF4FED6507C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34473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Restricted | © Siemens 2024  Siemens Digital Industries Software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44B473-200A-4820-8A70-CAF4FED6507C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52032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One object (large), Subtitle">
  <p:cSld name="2_One object (large), Subtitle"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19"/>
          <p:cNvSpPr txBox="1">
            <a:spLocks noGrp="1"/>
          </p:cNvSpPr>
          <p:nvPr>
            <p:ph type="body" idx="1"/>
          </p:nvPr>
        </p:nvSpPr>
        <p:spPr>
          <a:xfrm>
            <a:off x="411164" y="1414800"/>
            <a:ext cx="11376025" cy="475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marL="1219170" lvl="1" indent="-423323" algn="l">
              <a:lnSpc>
                <a:spcPct val="110000"/>
              </a:lnSpc>
              <a:spcBef>
                <a:spcPts val="267"/>
              </a:spcBef>
              <a:spcAft>
                <a:spcPts val="0"/>
              </a:spcAft>
              <a:buSzPts val="1400"/>
              <a:buChar char="•"/>
              <a:defRPr/>
            </a:lvl2pPr>
            <a:lvl3pPr marL="1828754" lvl="2" indent="-423323" algn="l">
              <a:lnSpc>
                <a:spcPct val="110000"/>
              </a:lnSpc>
              <a:spcBef>
                <a:spcPts val="267"/>
              </a:spcBef>
              <a:spcAft>
                <a:spcPts val="0"/>
              </a:spcAft>
              <a:buSzPts val="1400"/>
              <a:buChar char="•"/>
              <a:defRPr/>
            </a:lvl3pPr>
            <a:lvl4pPr marL="2438339" lvl="3" indent="-423323" algn="l">
              <a:lnSpc>
                <a:spcPct val="110000"/>
              </a:lnSpc>
              <a:spcBef>
                <a:spcPts val="267"/>
              </a:spcBef>
              <a:spcAft>
                <a:spcPts val="0"/>
              </a:spcAft>
              <a:buSzPts val="1400"/>
              <a:buChar char="•"/>
              <a:defRPr/>
            </a:lvl4pPr>
            <a:lvl5pPr marL="3047924" lvl="4" indent="-423323" algn="l">
              <a:lnSpc>
                <a:spcPct val="110000"/>
              </a:lnSpc>
              <a:spcBef>
                <a:spcPts val="267"/>
              </a:spcBef>
              <a:spcAft>
                <a:spcPts val="0"/>
              </a:spcAft>
              <a:buSzPts val="1400"/>
              <a:buChar char="•"/>
              <a:defRPr/>
            </a:lvl5pPr>
            <a:lvl6pPr marL="3657509" lvl="5" indent="-423323" algn="l">
              <a:lnSpc>
                <a:spcPct val="110000"/>
              </a:lnSpc>
              <a:spcBef>
                <a:spcPts val="267"/>
              </a:spcBef>
              <a:spcAft>
                <a:spcPts val="0"/>
              </a:spcAft>
              <a:buSzPts val="1400"/>
              <a:buChar char="•"/>
              <a:defRPr/>
            </a:lvl6pPr>
            <a:lvl7pPr marL="4267093" lvl="6" indent="-423323" algn="l">
              <a:lnSpc>
                <a:spcPct val="110000"/>
              </a:lnSpc>
              <a:spcBef>
                <a:spcPts val="267"/>
              </a:spcBef>
              <a:spcAft>
                <a:spcPts val="0"/>
              </a:spcAft>
              <a:buSzPts val="1400"/>
              <a:buChar char="•"/>
              <a:defRPr/>
            </a:lvl7pPr>
            <a:lvl8pPr marL="4876678" lvl="7" indent="-423323" algn="l">
              <a:lnSpc>
                <a:spcPct val="110000"/>
              </a:lnSpc>
              <a:spcBef>
                <a:spcPts val="267"/>
              </a:spcBef>
              <a:spcAft>
                <a:spcPts val="0"/>
              </a:spcAft>
              <a:buSzPts val="1400"/>
              <a:buChar char="•"/>
              <a:defRPr/>
            </a:lvl8pPr>
            <a:lvl9pPr marL="5486263" lvl="8" indent="-423323" algn="l">
              <a:lnSpc>
                <a:spcPct val="110000"/>
              </a:lnSpc>
              <a:spcBef>
                <a:spcPts val="267"/>
              </a:spcBef>
              <a:spcAft>
                <a:spcPts val="267"/>
              </a:spcAft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86" name="Google Shape;86;p19"/>
          <p:cNvSpPr txBox="1">
            <a:spLocks noGrp="1"/>
          </p:cNvSpPr>
          <p:nvPr>
            <p:ph type="ftr" idx="11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9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r>
              <a:rPr lang="en-US">
                <a:solidFill>
                  <a:srgbClr val="000000"/>
                </a:solidFill>
              </a:rPr>
              <a:t>Restricted | © Siemens 2024  Siemens Digital Industries Software </a:t>
            </a:r>
            <a:endParaRPr>
              <a:solidFill>
                <a:srgbClr val="000000"/>
              </a:solidFill>
            </a:endParaRPr>
          </a:p>
        </p:txBody>
      </p:sp>
      <p:sp>
        <p:nvSpPr>
          <p:cNvPr id="87" name="Google Shape;87;p19"/>
          <p:cNvSpPr txBox="1">
            <a:spLocks noGrp="1"/>
          </p:cNvSpPr>
          <p:nvPr>
            <p:ph type="sldNum" idx="12"/>
          </p:nvPr>
        </p:nvSpPr>
        <p:spPr>
          <a:xfrm>
            <a:off x="411163" y="6310800"/>
            <a:ext cx="648000" cy="54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900" anchor="ctr" anchorCtr="0">
            <a:noAutofit/>
          </a:bodyPr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buNone/>
              <a:defRPr/>
            </a:lvl1pPr>
            <a:lvl2pPr marL="0" lvl="1" indent="0" algn="l">
              <a:lnSpc>
                <a:spcPct val="100000"/>
              </a:lnSpc>
              <a:spcBef>
                <a:spcPts val="0"/>
              </a:spcBef>
              <a:buNone/>
              <a:defRPr/>
            </a:lvl2pPr>
            <a:lvl3pPr marL="0" lvl="2" indent="0" algn="l">
              <a:lnSpc>
                <a:spcPct val="100000"/>
              </a:lnSpc>
              <a:spcBef>
                <a:spcPts val="0"/>
              </a:spcBef>
              <a:buNone/>
              <a:defRPr/>
            </a:lvl3pPr>
            <a:lvl4pPr marL="0" lvl="3" indent="0" algn="l">
              <a:lnSpc>
                <a:spcPct val="100000"/>
              </a:lnSpc>
              <a:spcBef>
                <a:spcPts val="0"/>
              </a:spcBef>
              <a:buNone/>
              <a:defRPr/>
            </a:lvl4pPr>
            <a:lvl5pPr marL="0" lvl="4" indent="0" algn="l">
              <a:lnSpc>
                <a:spcPct val="100000"/>
              </a:lnSpc>
              <a:spcBef>
                <a:spcPts val="0"/>
              </a:spcBef>
              <a:buNone/>
              <a:defRPr/>
            </a:lvl5pPr>
            <a:lvl6pPr marL="0" lvl="5" indent="0" algn="l">
              <a:lnSpc>
                <a:spcPct val="100000"/>
              </a:lnSpc>
              <a:spcBef>
                <a:spcPts val="0"/>
              </a:spcBef>
              <a:buNone/>
              <a:defRPr/>
            </a:lvl6pPr>
            <a:lvl7pPr marL="0" lvl="6" indent="0" algn="l">
              <a:lnSpc>
                <a:spcPct val="100000"/>
              </a:lnSpc>
              <a:spcBef>
                <a:spcPts val="0"/>
              </a:spcBef>
              <a:buNone/>
              <a:defRPr/>
            </a:lvl7pPr>
            <a:lvl8pPr marL="0" lvl="7" indent="0" algn="l">
              <a:lnSpc>
                <a:spcPct val="100000"/>
              </a:lnSpc>
              <a:spcBef>
                <a:spcPts val="0"/>
              </a:spcBef>
              <a:buNone/>
              <a:defRPr/>
            </a:lvl8pPr>
            <a:lvl9pPr marL="0" lvl="8" indent="0" algn="l">
              <a:lnSpc>
                <a:spcPct val="100000"/>
              </a:lnSpc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" smtClean="0">
                <a:solidFill>
                  <a:srgbClr val="000000"/>
                </a:solidFill>
              </a:rPr>
              <a:pPr/>
              <a:t>‹#›</a:t>
            </a:fld>
            <a:endParaRPr lang="en">
              <a:solidFill>
                <a:srgbClr val="000000"/>
              </a:solidFill>
            </a:endParaRPr>
          </a:p>
        </p:txBody>
      </p:sp>
      <p:pic>
        <p:nvPicPr>
          <p:cNvPr id="88" name="Google Shape;88;p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  <a:noFill/>
          <a:ln>
            <a:noFill/>
          </a:ln>
        </p:spPr>
      </p:pic>
      <p:sp>
        <p:nvSpPr>
          <p:cNvPr id="89" name="Google Shape;89;p19"/>
          <p:cNvSpPr txBox="1">
            <a:spLocks noGrp="1"/>
          </p:cNvSpPr>
          <p:nvPr>
            <p:ph type="title"/>
          </p:nvPr>
        </p:nvSpPr>
        <p:spPr>
          <a:xfrm>
            <a:off x="410400" y="478801"/>
            <a:ext cx="9863997" cy="3077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243000" bIns="108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500"/>
              <a:buFont typeface="Arial"/>
              <a:buNone/>
              <a:defRPr>
                <a:solidFill>
                  <a:schemeClr val="accen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90" name="Google Shape;90;p19"/>
          <p:cNvSpPr txBox="1">
            <a:spLocks noGrp="1"/>
          </p:cNvSpPr>
          <p:nvPr>
            <p:ph type="body" idx="2"/>
          </p:nvPr>
        </p:nvSpPr>
        <p:spPr>
          <a:xfrm>
            <a:off x="410400" y="727588"/>
            <a:ext cx="9863997" cy="4122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2000" b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lvl="1" indent="-423323" algn="l">
              <a:lnSpc>
                <a:spcPct val="110000"/>
              </a:lnSpc>
              <a:spcBef>
                <a:spcPts val="267"/>
              </a:spcBef>
              <a:spcAft>
                <a:spcPts val="0"/>
              </a:spcAft>
              <a:buSzPts val="1400"/>
              <a:buChar char="•"/>
              <a:defRPr/>
            </a:lvl2pPr>
            <a:lvl3pPr marL="1828754" lvl="2" indent="-423323" algn="l">
              <a:lnSpc>
                <a:spcPct val="110000"/>
              </a:lnSpc>
              <a:spcBef>
                <a:spcPts val="267"/>
              </a:spcBef>
              <a:spcAft>
                <a:spcPts val="0"/>
              </a:spcAft>
              <a:buSzPts val="1400"/>
              <a:buChar char="•"/>
              <a:defRPr/>
            </a:lvl3pPr>
            <a:lvl4pPr marL="2438339" lvl="3" indent="-423323" algn="l">
              <a:lnSpc>
                <a:spcPct val="110000"/>
              </a:lnSpc>
              <a:spcBef>
                <a:spcPts val="267"/>
              </a:spcBef>
              <a:spcAft>
                <a:spcPts val="0"/>
              </a:spcAft>
              <a:buSzPts val="1400"/>
              <a:buChar char="•"/>
              <a:defRPr/>
            </a:lvl4pPr>
            <a:lvl5pPr marL="3047924" lvl="4" indent="-423323" algn="l">
              <a:lnSpc>
                <a:spcPct val="110000"/>
              </a:lnSpc>
              <a:spcBef>
                <a:spcPts val="267"/>
              </a:spcBef>
              <a:spcAft>
                <a:spcPts val="0"/>
              </a:spcAft>
              <a:buSzPts val="1400"/>
              <a:buChar char="•"/>
              <a:defRPr/>
            </a:lvl5pPr>
            <a:lvl6pPr marL="3657509" lvl="5" indent="-423323" algn="l">
              <a:lnSpc>
                <a:spcPct val="110000"/>
              </a:lnSpc>
              <a:spcBef>
                <a:spcPts val="267"/>
              </a:spcBef>
              <a:spcAft>
                <a:spcPts val="0"/>
              </a:spcAft>
              <a:buSzPts val="1400"/>
              <a:buChar char="•"/>
              <a:defRPr/>
            </a:lvl6pPr>
            <a:lvl7pPr marL="4267093" lvl="6" indent="-423323" algn="l">
              <a:lnSpc>
                <a:spcPct val="110000"/>
              </a:lnSpc>
              <a:spcBef>
                <a:spcPts val="267"/>
              </a:spcBef>
              <a:spcAft>
                <a:spcPts val="0"/>
              </a:spcAft>
              <a:buSzPts val="1400"/>
              <a:buChar char="•"/>
              <a:defRPr/>
            </a:lvl7pPr>
            <a:lvl8pPr marL="4876678" lvl="7" indent="-423323" algn="l">
              <a:lnSpc>
                <a:spcPct val="110000"/>
              </a:lnSpc>
              <a:spcBef>
                <a:spcPts val="267"/>
              </a:spcBef>
              <a:spcAft>
                <a:spcPts val="0"/>
              </a:spcAft>
              <a:buSzPts val="1400"/>
              <a:buChar char="•"/>
              <a:defRPr/>
            </a:lvl8pPr>
            <a:lvl9pPr marL="5486263" lvl="8" indent="-423323" algn="l">
              <a:lnSpc>
                <a:spcPct val="110000"/>
              </a:lnSpc>
              <a:spcBef>
                <a:spcPts val="267"/>
              </a:spcBef>
              <a:spcAft>
                <a:spcPts val="267"/>
              </a:spcAft>
              <a:buSzPts val="14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27122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4">
          <p15:clr>
            <a:srgbClr val="65CEFF"/>
          </p15:clr>
        </p15:guide>
        <p15:guide id="2" pos="4854">
          <p15:clr>
            <a:srgbClr val="65CEFF"/>
          </p15:clr>
        </p15:guide>
        <p15:guide id="3" pos="5569">
          <p15:clr>
            <a:srgbClr val="65CEFF"/>
          </p15:clr>
        </p15:guide>
        <p15:guide id="4" orient="horz" pos="227">
          <p15:clr>
            <a:srgbClr val="65CEFF"/>
          </p15:clr>
        </p15:guide>
        <p15:guide id="5" orient="horz" pos="498">
          <p15:clr>
            <a:srgbClr val="65CEFF"/>
          </p15:clr>
        </p15:guide>
        <p15:guide id="6" orient="horz" pos="668">
          <p15:clr>
            <a:srgbClr val="65CEFF"/>
          </p15:clr>
        </p15:guide>
        <p15:guide id="7" orient="horz" pos="2743">
          <p15:clr>
            <a:srgbClr val="65CEFF"/>
          </p15:clr>
        </p15:guide>
        <p15:guide id="8" orient="horz" pos="2914">
          <p15:clr>
            <a:srgbClr val="65CEFF"/>
          </p15:clr>
        </p15:guide>
        <p15:guide id="9" orient="horz" pos="3118">
          <p15:clr>
            <a:srgbClr val="65CEF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>
  <p:cSld name="1_One object (large)">
    <p:spTree>
      <p:nvGrpSpPr>
        <p:cNvPr id="1" name="Shape 5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7" name="Google Shape;547;p92"/>
          <p:cNvSpPr txBox="1">
            <a:spLocks noGrp="1"/>
          </p:cNvSpPr>
          <p:nvPr>
            <p:ph type="body" idx="1"/>
          </p:nvPr>
        </p:nvSpPr>
        <p:spPr>
          <a:xfrm>
            <a:off x="411164" y="1414800"/>
            <a:ext cx="11376025" cy="475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304792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marL="1219170" lvl="1" indent="-423323" algn="l">
              <a:lnSpc>
                <a:spcPct val="110000"/>
              </a:lnSpc>
              <a:spcBef>
                <a:spcPts val="267"/>
              </a:spcBef>
              <a:spcAft>
                <a:spcPts val="0"/>
              </a:spcAft>
              <a:buSzPts val="1400"/>
              <a:buChar char="•"/>
              <a:defRPr/>
            </a:lvl2pPr>
            <a:lvl3pPr marL="1828754" lvl="2" indent="-423323" algn="l">
              <a:lnSpc>
                <a:spcPct val="110000"/>
              </a:lnSpc>
              <a:spcBef>
                <a:spcPts val="267"/>
              </a:spcBef>
              <a:spcAft>
                <a:spcPts val="0"/>
              </a:spcAft>
              <a:buSzPts val="1400"/>
              <a:buChar char="•"/>
              <a:defRPr/>
            </a:lvl3pPr>
            <a:lvl4pPr marL="2438339" lvl="3" indent="-423323" algn="l">
              <a:lnSpc>
                <a:spcPct val="110000"/>
              </a:lnSpc>
              <a:spcBef>
                <a:spcPts val="267"/>
              </a:spcBef>
              <a:spcAft>
                <a:spcPts val="0"/>
              </a:spcAft>
              <a:buSzPts val="1400"/>
              <a:buChar char="•"/>
              <a:defRPr/>
            </a:lvl4pPr>
            <a:lvl5pPr marL="3047924" lvl="4" indent="-423323" algn="l">
              <a:lnSpc>
                <a:spcPct val="110000"/>
              </a:lnSpc>
              <a:spcBef>
                <a:spcPts val="267"/>
              </a:spcBef>
              <a:spcAft>
                <a:spcPts val="0"/>
              </a:spcAft>
              <a:buSzPts val="1400"/>
              <a:buChar char="•"/>
              <a:defRPr/>
            </a:lvl5pPr>
            <a:lvl6pPr marL="3657509" lvl="5" indent="-423323" algn="l">
              <a:lnSpc>
                <a:spcPct val="110000"/>
              </a:lnSpc>
              <a:spcBef>
                <a:spcPts val="267"/>
              </a:spcBef>
              <a:spcAft>
                <a:spcPts val="0"/>
              </a:spcAft>
              <a:buSzPts val="1400"/>
              <a:buChar char="•"/>
              <a:defRPr/>
            </a:lvl6pPr>
            <a:lvl7pPr marL="4267093" lvl="6" indent="-423323" algn="l">
              <a:lnSpc>
                <a:spcPct val="110000"/>
              </a:lnSpc>
              <a:spcBef>
                <a:spcPts val="267"/>
              </a:spcBef>
              <a:spcAft>
                <a:spcPts val="0"/>
              </a:spcAft>
              <a:buSzPts val="1400"/>
              <a:buChar char="•"/>
              <a:defRPr/>
            </a:lvl7pPr>
            <a:lvl8pPr marL="4876678" lvl="7" indent="-423323" algn="l">
              <a:lnSpc>
                <a:spcPct val="110000"/>
              </a:lnSpc>
              <a:spcBef>
                <a:spcPts val="267"/>
              </a:spcBef>
              <a:spcAft>
                <a:spcPts val="0"/>
              </a:spcAft>
              <a:buSzPts val="1400"/>
              <a:buChar char="•"/>
              <a:defRPr/>
            </a:lvl8pPr>
            <a:lvl9pPr marL="5486263" lvl="8" indent="-423323" algn="l">
              <a:lnSpc>
                <a:spcPct val="110000"/>
              </a:lnSpc>
              <a:spcBef>
                <a:spcPts val="267"/>
              </a:spcBef>
              <a:spcAft>
                <a:spcPts val="267"/>
              </a:spcAft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548" name="Google Shape;548;p92"/>
          <p:cNvSpPr txBox="1">
            <a:spLocks noGrp="1"/>
          </p:cNvSpPr>
          <p:nvPr>
            <p:ph type="ftr" idx="11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9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r>
              <a:rPr lang="en-US">
                <a:solidFill>
                  <a:srgbClr val="000000"/>
                </a:solidFill>
              </a:rPr>
              <a:t>Restricted | © Siemens 2024  Siemens Digital Industries Software </a:t>
            </a:r>
            <a:endParaRPr>
              <a:solidFill>
                <a:srgbClr val="000000"/>
              </a:solidFill>
            </a:endParaRPr>
          </a:p>
        </p:txBody>
      </p:sp>
      <p:sp>
        <p:nvSpPr>
          <p:cNvPr id="549" name="Google Shape;549;p92"/>
          <p:cNvSpPr txBox="1">
            <a:spLocks noGrp="1"/>
          </p:cNvSpPr>
          <p:nvPr>
            <p:ph type="sldNum" idx="12"/>
          </p:nvPr>
        </p:nvSpPr>
        <p:spPr>
          <a:xfrm>
            <a:off x="411163" y="6310800"/>
            <a:ext cx="648000" cy="54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45900" anchor="ctr" anchorCtr="0">
            <a:noAutofit/>
          </a:bodyPr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fld id="{00000000-1234-1234-1234-123412341234}" type="slidenum">
              <a:rPr lang="en" smtClean="0">
                <a:solidFill>
                  <a:srgbClr val="000000"/>
                </a:solidFill>
              </a:rPr>
              <a:pPr/>
              <a:t>‹#›</a:t>
            </a:fld>
            <a:endParaRPr lang="en">
              <a:solidFill>
                <a:srgbClr val="000000"/>
              </a:solidFill>
            </a:endParaRPr>
          </a:p>
        </p:txBody>
      </p:sp>
      <p:pic>
        <p:nvPicPr>
          <p:cNvPr id="550" name="Google Shape;550;p9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635189" y="6418800"/>
            <a:ext cx="1151700" cy="183168"/>
          </a:xfrm>
          <a:prstGeom prst="rect">
            <a:avLst/>
          </a:prstGeom>
          <a:noFill/>
          <a:ln>
            <a:noFill/>
          </a:ln>
        </p:spPr>
      </p:pic>
      <p:sp>
        <p:nvSpPr>
          <p:cNvPr id="551" name="Google Shape;551;p92"/>
          <p:cNvSpPr txBox="1">
            <a:spLocks noGrp="1"/>
          </p:cNvSpPr>
          <p:nvPr>
            <p:ph type="title"/>
          </p:nvPr>
        </p:nvSpPr>
        <p:spPr>
          <a:xfrm>
            <a:off x="410402" y="478800"/>
            <a:ext cx="9863997" cy="57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243050" bIns="108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954352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4">
          <p15:clr>
            <a:srgbClr val="65CEFF"/>
          </p15:clr>
        </p15:guide>
        <p15:guide id="2" pos="4855">
          <p15:clr>
            <a:srgbClr val="65CEFF"/>
          </p15:clr>
        </p15:guide>
        <p15:guide id="3" pos="5570">
          <p15:clr>
            <a:srgbClr val="65CEFF"/>
          </p15:clr>
        </p15:guide>
        <p15:guide id="4" orient="horz" pos="227">
          <p15:clr>
            <a:srgbClr val="65CEFF"/>
          </p15:clr>
        </p15:guide>
        <p15:guide id="5" orient="horz" pos="498">
          <p15:clr>
            <a:srgbClr val="65CEFF"/>
          </p15:clr>
        </p15:guide>
        <p15:guide id="6" orient="horz" pos="668">
          <p15:clr>
            <a:srgbClr val="65CEFF"/>
          </p15:clr>
        </p15:guide>
        <p15:guide id="7" orient="horz" pos="2743">
          <p15:clr>
            <a:srgbClr val="65CEFF"/>
          </p15:clr>
        </p15:guide>
        <p15:guide id="8" orient="horz" pos="2914">
          <p15:clr>
            <a:srgbClr val="65CEFF"/>
          </p15:clr>
        </p15:guide>
        <p15:guide id="9" orient="horz" pos="3118">
          <p15:clr>
            <a:srgbClr val="65CEF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90513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/>
          <p:cNvGrpSpPr/>
          <p:nvPr userDrawn="1"/>
        </p:nvGrpSpPr>
        <p:grpSpPr>
          <a:xfrm>
            <a:off x="0" y="3"/>
            <a:ext cx="12192000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798">
                <a:solidFill>
                  <a:prstClr val="white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798">
                <a:solidFill>
                  <a:prstClr val="white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9" name="Gerade Verbindung 8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Gerade Verbindung 9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Gerade Verbindung 10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Gerade Verbindung 11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12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Gerade Verbindung 13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Gerade Verbindung 14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Gerade Verbindung 15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16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7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Gerade Verbindung 19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Gerade Verbindung 20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21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Gerade Verbindung 22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Gerade Verbindung 23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Gerade Verbindung 24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Gerade Verbindung 25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Gerade Verbindung 26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Gerade Verbindung 27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Gerade Verbindung 28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Gerade Verbindung 29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8331401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userDrawn="1">
  <p:cSld name="1_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sz="half" idx="1" hasCustomPrompt="1"/>
            <p:custDataLst>
              <p:tags r:id="rId2"/>
            </p:custDataLst>
          </p:nvPr>
        </p:nvSpPr>
        <p:spPr>
          <a:xfrm>
            <a:off x="626738" y="1443038"/>
            <a:ext cx="5469263" cy="47489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3486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08" marR="0" indent="-179820" algn="l" defTabSz="913486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417" marR="0" indent="-179820" algn="l" defTabSz="913486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625" marR="0" indent="-179820" algn="l" defTabSz="913486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280" marR="0" indent="-179820" algn="l" defTabSz="913486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 hasCustomPrompt="1"/>
            <p:custDataLst>
              <p:tags r:id="rId3"/>
            </p:custDataLst>
          </p:nvPr>
        </p:nvSpPr>
        <p:spPr>
          <a:xfrm>
            <a:off x="6240388" y="1443038"/>
            <a:ext cx="5469263" cy="47489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3486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08" marR="0" indent="-179820" algn="l" defTabSz="913486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417" marR="0" indent="-179820" algn="l" defTabSz="913486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625" marR="0" indent="-179820" algn="l" defTabSz="913486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280" marR="0" indent="-179820" algn="l" defTabSz="913486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2290755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163" y="1234800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bg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lang="en-US" sz="16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2pPr>
            <a:lvl3pPr marL="180000" indent="-180000" algn="l">
              <a:spcAft>
                <a:spcPts val="0"/>
              </a:spcAft>
              <a:buFontTx/>
              <a:buNone/>
              <a:defRPr sz="1600" b="0">
                <a:solidFill>
                  <a:schemeClr val="bg1"/>
                </a:solidFill>
              </a:defRPr>
            </a:lvl3pPr>
            <a:lvl4pPr marL="360000" indent="-180000" algn="l">
              <a:spcAft>
                <a:spcPts val="0"/>
              </a:spcAft>
              <a:buFontTx/>
              <a:buNone/>
              <a:defRPr sz="1400">
                <a:solidFill>
                  <a:schemeClr val="bg1"/>
                </a:solidFill>
              </a:defRPr>
            </a:lvl4pPr>
            <a:lvl5pPr marL="360000" indent="-180000" algn="l">
              <a:spcAft>
                <a:spcPts val="0"/>
              </a:spcAft>
              <a:buFontTx/>
              <a:buNone/>
              <a:defRPr sz="1400" b="1">
                <a:solidFill>
                  <a:schemeClr val="bg1"/>
                </a:solidFill>
              </a:defRPr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marL="0" lvl="1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US"/>
              <a:t>Click to edit the contact</a:t>
            </a:r>
          </a:p>
          <a:p>
            <a:pPr lvl="1"/>
            <a:r>
              <a:rPr lang="en-US"/>
              <a:t>Name</a:t>
            </a:r>
          </a:p>
          <a:p>
            <a:pPr lvl="2"/>
            <a:r>
              <a:rPr lang="en-US"/>
              <a:t>Department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Restricted | © Siemens 2024  Siemens Digital Industries Software 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CAF3A8F5-231C-C244-A601-14611686B1C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35188" y="6419088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7990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778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70837433-2C09-4518-AF0D-697A97CAC3A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3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Restricted | © Siemens 2024  Siemens Digital Industries Software 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49028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DF3DAF0E-BB8A-4082-8CE7-1BBCE61C8CD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24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Restricted | © Siemens 2024  Siemens Digital Industries Software 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1407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DE598EC2-770B-4F85-A209-57F0E770943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1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Restricted | © Siemens 2024  Siemens Digital Industries Software 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65350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3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Restricted | © Siemens 2024  Siemens Digital Industries Software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44B473-200A-4820-8A70-CAF4FED6507C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55617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399" y="1414463"/>
            <a:ext cx="11370437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1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Restricted | © Siemens 2024  Siemens Digital Industries Software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44B473-200A-4820-8A70-CAF4FED6507C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2390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22.xml"/><Relationship Id="rId26" Type="http://schemas.openxmlformats.org/officeDocument/2006/relationships/slideLayout" Target="../slideLayouts/slideLayout30.xml"/><Relationship Id="rId3" Type="http://schemas.openxmlformats.org/officeDocument/2006/relationships/slideLayout" Target="../slideLayouts/slideLayout7.xml"/><Relationship Id="rId21" Type="http://schemas.openxmlformats.org/officeDocument/2006/relationships/slideLayout" Target="../slideLayouts/slideLayout25.xml"/><Relationship Id="rId34" Type="http://schemas.openxmlformats.org/officeDocument/2006/relationships/slideLayout" Target="../slideLayouts/slideLayout38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21.xml"/><Relationship Id="rId25" Type="http://schemas.openxmlformats.org/officeDocument/2006/relationships/slideLayout" Target="../slideLayouts/slideLayout29.xml"/><Relationship Id="rId33" Type="http://schemas.openxmlformats.org/officeDocument/2006/relationships/slideLayout" Target="../slideLayouts/slideLayout37.xml"/><Relationship Id="rId2" Type="http://schemas.openxmlformats.org/officeDocument/2006/relationships/slideLayout" Target="../slideLayouts/slideLayout6.xml"/><Relationship Id="rId16" Type="http://schemas.openxmlformats.org/officeDocument/2006/relationships/slideLayout" Target="../slideLayouts/slideLayout20.xml"/><Relationship Id="rId20" Type="http://schemas.openxmlformats.org/officeDocument/2006/relationships/slideLayout" Target="../slideLayouts/slideLayout24.xml"/><Relationship Id="rId29" Type="http://schemas.openxmlformats.org/officeDocument/2006/relationships/slideLayout" Target="../slideLayouts/slideLayout33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24" Type="http://schemas.openxmlformats.org/officeDocument/2006/relationships/slideLayout" Target="../slideLayouts/slideLayout28.xml"/><Relationship Id="rId32" Type="http://schemas.openxmlformats.org/officeDocument/2006/relationships/slideLayout" Target="../slideLayouts/slideLayout36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23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32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14.xml"/><Relationship Id="rId19" Type="http://schemas.openxmlformats.org/officeDocument/2006/relationships/slideLayout" Target="../slideLayouts/slideLayout23.xml"/><Relationship Id="rId31" Type="http://schemas.openxmlformats.org/officeDocument/2006/relationships/slideLayout" Target="../slideLayouts/slideLayout35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Relationship Id="rId22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31.xml"/><Relationship Id="rId30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245865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3" imgH="476" progId="TCLayout.ActiveDocument.1">
                  <p:embed/>
                </p:oleObj>
              </mc:Choice>
              <mc:Fallback>
                <p:oleObj name="think-cell Slide" r:id="rId7" imgW="473" imgH="47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Restricted | © Siemens 2024  Siemens Digital Industries Software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8585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650" r:id="rId2"/>
    <p:sldLayoutId id="2147483665" r:id="rId3"/>
    <p:sldLayoutId id="2147483678" r:id="rId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Restricted | © Siemens 2024  Siemens Digital Industries Software 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fld id="{6C44B473-200A-4820-8A70-CAF4FED6507C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19824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  <p:sldLayoutId id="2147483732" r:id="rId14"/>
    <p:sldLayoutId id="2147483733" r:id="rId15"/>
    <p:sldLayoutId id="2147483734" r:id="rId16"/>
    <p:sldLayoutId id="2147483735" r:id="rId17"/>
    <p:sldLayoutId id="2147483736" r:id="rId18"/>
    <p:sldLayoutId id="2147483737" r:id="rId19"/>
    <p:sldLayoutId id="2147483738" r:id="rId20"/>
    <p:sldLayoutId id="2147483739" r:id="rId21"/>
    <p:sldLayoutId id="2147483740" r:id="rId22"/>
    <p:sldLayoutId id="2147483741" r:id="rId23"/>
    <p:sldLayoutId id="2147483742" r:id="rId24"/>
    <p:sldLayoutId id="2147483743" r:id="rId25"/>
    <p:sldLayoutId id="2147483744" r:id="rId26"/>
    <p:sldLayoutId id="2147483745" r:id="rId27"/>
    <p:sldLayoutId id="2147483746" r:id="rId28"/>
    <p:sldLayoutId id="2147483747" r:id="rId29"/>
    <p:sldLayoutId id="2147483748" r:id="rId30"/>
    <p:sldLayoutId id="2147483749" r:id="rId31"/>
    <p:sldLayoutId id="2147483750" r:id="rId32"/>
    <p:sldLayoutId id="2147483752" r:id="rId33"/>
    <p:sldLayoutId id="2147483754" r:id="rId34"/>
    <p:sldLayoutId id="2147483755" r:id="rId35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tmp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tmp"/><Relationship Id="rId7" Type="http://schemas.openxmlformats.org/officeDocument/2006/relationships/customXml" Target="../ink/ink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6" Type="http://schemas.openxmlformats.org/officeDocument/2006/relationships/customXml" Target="../ink/ink2.xml"/><Relationship Id="rId5" Type="http://schemas.openxmlformats.org/officeDocument/2006/relationships/image" Target="../media/image33.png"/><Relationship Id="rId4" Type="http://schemas.openxmlformats.org/officeDocument/2006/relationships/customXml" Target="../ink/ink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tmp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3.png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8.svg"/><Relationship Id="rId9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titan.org/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2.tm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87DCDB-E649-4D88-9AEB-9F963E4B61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800" y="1681743"/>
            <a:ext cx="11883200" cy="1846659"/>
          </a:xfrm>
        </p:spPr>
        <p:txBody>
          <a:bodyPr/>
          <a:lstStyle/>
          <a:p>
            <a:r>
              <a:rPr lang="en-US" sz="4000" dirty="0">
                <a:solidFill>
                  <a:schemeClr val="tx1">
                    <a:lumMod val="9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Ensuring Datapath Integrity and Adherence </a:t>
            </a:r>
            <a:br>
              <a:rPr lang="en-US" sz="4000" dirty="0">
                <a:solidFill>
                  <a:schemeClr val="tx1">
                    <a:lumMod val="9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</a:br>
            <a:r>
              <a:rPr lang="en-US" sz="4000" dirty="0">
                <a:solidFill>
                  <a:schemeClr val="tx1">
                    <a:lumMod val="9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with Formal Security Verification </a:t>
            </a:r>
            <a:br>
              <a:rPr lang="en-US" sz="4000" dirty="0">
                <a:solidFill>
                  <a:schemeClr val="tx1">
                    <a:lumMod val="9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</a:br>
            <a:r>
              <a:rPr lang="en-US" sz="4000" dirty="0">
                <a:solidFill>
                  <a:schemeClr val="tx1">
                    <a:lumMod val="9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in RISC-V Implementation</a:t>
            </a:r>
            <a:endParaRPr lang="en-US" sz="4000" dirty="0">
              <a:solidFill>
                <a:schemeClr val="tx1">
                  <a:lumMod val="95000"/>
                </a:schemeClr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B02AC89-00D0-7548-BA83-1DAB6AABFFB7}"/>
              </a:ext>
            </a:extLst>
          </p:cNvPr>
          <p:cNvSpPr txBox="1"/>
          <p:nvPr/>
        </p:nvSpPr>
        <p:spPr>
          <a:xfrm>
            <a:off x="308800" y="4078433"/>
            <a:ext cx="7912551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i="1" u="sng" dirty="0"/>
              <a:t>Sven Beyer</a:t>
            </a:r>
            <a:r>
              <a:rPr lang="en-US" dirty="0"/>
              <a:t>, Keerthikumara Devarajegowda, Joerg Grosse, Nicolae Tusinschi</a:t>
            </a:r>
          </a:p>
          <a:p>
            <a:pPr algn="l"/>
            <a:r>
              <a:rPr lang="en-US" dirty="0"/>
              <a:t>Siemens EDA, Germany</a:t>
            </a:r>
          </a:p>
        </p:txBody>
      </p:sp>
    </p:spTree>
    <p:extLst>
      <p:ext uri="{BB962C8B-B14F-4D97-AF65-F5344CB8AC3E}">
        <p14:creationId xmlns:p14="http://schemas.microsoft.com/office/powerpoint/2010/main" val="404707720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A59CE0-18CE-9447-F486-8403978474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Application on </a:t>
            </a:r>
            <a:r>
              <a:rPr lang="en-US" sz="2800" dirty="0" err="1"/>
              <a:t>OpenTitan</a:t>
            </a:r>
            <a:r>
              <a:rPr lang="en-US" sz="2800" dirty="0"/>
              <a:t>: AES instan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C9A97A-7CF3-D8E2-EC21-C4CB6F9DE30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Restricted | © Siemens 2024  Siemens Digital Industries Software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DFD562B-FED1-D5FE-7731-870BAEF7551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14" t="21664" r="10533" b="12065"/>
          <a:stretch/>
        </p:blipFill>
        <p:spPr>
          <a:xfrm>
            <a:off x="4851400" y="1181100"/>
            <a:ext cx="6930200" cy="491814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016D5457-D7EE-7F08-BFF8-5BBC6D9E8D16}"/>
              </a:ext>
            </a:extLst>
          </p:cNvPr>
          <p:cNvSpPr/>
          <p:nvPr/>
        </p:nvSpPr>
        <p:spPr>
          <a:xfrm>
            <a:off x="5067300" y="4470400"/>
            <a:ext cx="812800" cy="520700"/>
          </a:xfrm>
          <a:prstGeom prst="round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6BCE6575-E246-171A-F77F-987F90505923}"/>
              </a:ext>
            </a:extLst>
          </p:cNvPr>
          <p:cNvCxnSpPr>
            <a:cxnSpLocks/>
          </p:cNvCxnSpPr>
          <p:nvPr/>
        </p:nvCxnSpPr>
        <p:spPr>
          <a:xfrm flipV="1">
            <a:off x="5473700" y="2627888"/>
            <a:ext cx="317500" cy="1869536"/>
          </a:xfrm>
          <a:prstGeom prst="straightConnector1">
            <a:avLst/>
          </a:prstGeom>
          <a:ln w="19050">
            <a:solidFill>
              <a:srgbClr val="00B050"/>
            </a:solidFill>
            <a:headEnd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03250EA6-4BB1-8643-14DC-8D9062A47C9D}"/>
              </a:ext>
            </a:extLst>
          </p:cNvPr>
          <p:cNvCxnSpPr>
            <a:cxnSpLocks/>
            <a:stCxn id="4" idx="0"/>
          </p:cNvCxnSpPr>
          <p:nvPr/>
        </p:nvCxnSpPr>
        <p:spPr>
          <a:xfrm flipV="1">
            <a:off x="5473700" y="2627888"/>
            <a:ext cx="1485900" cy="1842512"/>
          </a:xfrm>
          <a:prstGeom prst="straightConnector1">
            <a:avLst/>
          </a:prstGeom>
          <a:ln w="15875">
            <a:solidFill>
              <a:srgbClr val="FF0000"/>
            </a:solidFill>
            <a:headEnd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5413ABB9-DE33-5C40-8D7B-8AEBB4C73E69}"/>
              </a:ext>
            </a:extLst>
          </p:cNvPr>
          <p:cNvCxnSpPr>
            <a:cxnSpLocks/>
            <a:stCxn id="4" idx="0"/>
          </p:cNvCxnSpPr>
          <p:nvPr/>
        </p:nvCxnSpPr>
        <p:spPr>
          <a:xfrm flipV="1">
            <a:off x="5473700" y="2627888"/>
            <a:ext cx="2324100" cy="1842512"/>
          </a:xfrm>
          <a:prstGeom prst="straightConnector1">
            <a:avLst/>
          </a:prstGeom>
          <a:ln w="15875">
            <a:solidFill>
              <a:srgbClr val="FF0000"/>
            </a:solidFill>
            <a:headEnd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DD9B7235-BA5E-3341-6B23-D112E1629D16}"/>
              </a:ext>
            </a:extLst>
          </p:cNvPr>
          <p:cNvCxnSpPr>
            <a:cxnSpLocks/>
          </p:cNvCxnSpPr>
          <p:nvPr/>
        </p:nvCxnSpPr>
        <p:spPr>
          <a:xfrm flipV="1">
            <a:off x="5473700" y="2107188"/>
            <a:ext cx="1384300" cy="2363212"/>
          </a:xfrm>
          <a:prstGeom prst="straightConnector1">
            <a:avLst/>
          </a:prstGeom>
          <a:ln w="15875">
            <a:solidFill>
              <a:srgbClr val="FF0000"/>
            </a:solidFill>
            <a:headEnd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C18E5A03-27CE-E912-1213-F2A321D7690B}"/>
              </a:ext>
            </a:extLst>
          </p:cNvPr>
          <p:cNvCxnSpPr>
            <a:cxnSpLocks/>
            <a:stCxn id="4" idx="0"/>
          </p:cNvCxnSpPr>
          <p:nvPr/>
        </p:nvCxnSpPr>
        <p:spPr>
          <a:xfrm flipV="1">
            <a:off x="5473700" y="2134212"/>
            <a:ext cx="2324100" cy="2336188"/>
          </a:xfrm>
          <a:prstGeom prst="straightConnector1">
            <a:avLst/>
          </a:prstGeom>
          <a:ln w="15875">
            <a:solidFill>
              <a:srgbClr val="FF0000"/>
            </a:solidFill>
            <a:headEnd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95C2545A-C799-D924-A768-AABABD50ACE7}"/>
              </a:ext>
            </a:extLst>
          </p:cNvPr>
          <p:cNvCxnSpPr>
            <a:cxnSpLocks/>
            <a:stCxn id="4" idx="0"/>
          </p:cNvCxnSpPr>
          <p:nvPr/>
        </p:nvCxnSpPr>
        <p:spPr>
          <a:xfrm flipV="1">
            <a:off x="5473700" y="1917544"/>
            <a:ext cx="3733800" cy="2552856"/>
          </a:xfrm>
          <a:prstGeom prst="straightConnector1">
            <a:avLst/>
          </a:prstGeom>
          <a:ln w="15875">
            <a:solidFill>
              <a:srgbClr val="FF0000"/>
            </a:solidFill>
            <a:headEnd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37BA6148-EAAC-F3CC-03A4-66F28A9CAF29}"/>
              </a:ext>
            </a:extLst>
          </p:cNvPr>
          <p:cNvCxnSpPr>
            <a:cxnSpLocks/>
          </p:cNvCxnSpPr>
          <p:nvPr/>
        </p:nvCxnSpPr>
        <p:spPr>
          <a:xfrm flipV="1">
            <a:off x="5473700" y="2387600"/>
            <a:ext cx="3733800" cy="2109824"/>
          </a:xfrm>
          <a:prstGeom prst="straightConnector1">
            <a:avLst/>
          </a:prstGeom>
          <a:ln w="15875">
            <a:solidFill>
              <a:srgbClr val="FF0000"/>
            </a:solidFill>
            <a:headEnd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03C404FC-6B86-3ECE-643C-771AD6549E6D}"/>
              </a:ext>
            </a:extLst>
          </p:cNvPr>
          <p:cNvCxnSpPr>
            <a:cxnSpLocks/>
            <a:stCxn id="4" idx="0"/>
          </p:cNvCxnSpPr>
          <p:nvPr/>
        </p:nvCxnSpPr>
        <p:spPr>
          <a:xfrm flipV="1">
            <a:off x="5473700" y="2946400"/>
            <a:ext cx="3733800" cy="1524000"/>
          </a:xfrm>
          <a:prstGeom prst="straightConnector1">
            <a:avLst/>
          </a:prstGeom>
          <a:ln w="15875">
            <a:solidFill>
              <a:srgbClr val="FF0000"/>
            </a:solidFill>
            <a:headEnd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7CA9CAEF-6D98-8F63-8A06-4BE5AE283D8B}"/>
              </a:ext>
            </a:extLst>
          </p:cNvPr>
          <p:cNvCxnSpPr>
            <a:cxnSpLocks/>
            <a:stCxn id="4" idx="0"/>
          </p:cNvCxnSpPr>
          <p:nvPr/>
        </p:nvCxnSpPr>
        <p:spPr>
          <a:xfrm flipV="1">
            <a:off x="5473700" y="3758144"/>
            <a:ext cx="3733800" cy="712256"/>
          </a:xfrm>
          <a:prstGeom prst="straightConnector1">
            <a:avLst/>
          </a:prstGeom>
          <a:ln w="15875">
            <a:solidFill>
              <a:srgbClr val="FF0000"/>
            </a:solidFill>
            <a:headEnd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1A69E1A2-1F89-282D-177A-ED45285BF683}"/>
              </a:ext>
            </a:extLst>
          </p:cNvPr>
          <p:cNvCxnSpPr>
            <a:cxnSpLocks/>
            <a:stCxn id="4" idx="0"/>
          </p:cNvCxnSpPr>
          <p:nvPr/>
        </p:nvCxnSpPr>
        <p:spPr>
          <a:xfrm flipV="1">
            <a:off x="5473700" y="4216400"/>
            <a:ext cx="3733800" cy="254000"/>
          </a:xfrm>
          <a:prstGeom prst="straightConnector1">
            <a:avLst/>
          </a:prstGeom>
          <a:ln w="15875">
            <a:solidFill>
              <a:srgbClr val="FF0000"/>
            </a:solidFill>
            <a:headEnd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CD8ED607-8DDD-B594-6B97-4F71A2CF45DC}"/>
              </a:ext>
            </a:extLst>
          </p:cNvPr>
          <p:cNvCxnSpPr>
            <a:cxnSpLocks/>
            <a:stCxn id="4" idx="0"/>
          </p:cNvCxnSpPr>
          <p:nvPr/>
        </p:nvCxnSpPr>
        <p:spPr>
          <a:xfrm>
            <a:off x="5473700" y="4470400"/>
            <a:ext cx="3733800" cy="211552"/>
          </a:xfrm>
          <a:prstGeom prst="straightConnector1">
            <a:avLst/>
          </a:prstGeom>
          <a:ln w="15875">
            <a:solidFill>
              <a:srgbClr val="FF0000"/>
            </a:solidFill>
            <a:headEnd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E56D73CD-ABA7-B8F5-3018-02EF7F17CA1C}"/>
              </a:ext>
            </a:extLst>
          </p:cNvPr>
          <p:cNvSpPr txBox="1"/>
          <p:nvPr/>
        </p:nvSpPr>
        <p:spPr>
          <a:xfrm>
            <a:off x="311150" y="1400350"/>
            <a:ext cx="4438650" cy="3781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285750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/>
            </a:lvl1pPr>
            <a:lvl2pPr marL="742950" lvl="1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</a:defRPr>
            </a:lvl2pPr>
          </a:lstStyle>
          <a:p>
            <a:r>
              <a:rPr lang="en-US" dirty="0"/>
              <a:t>The AES unit is a cryptographic accelerator that accepts requests from the processor to encrypt or decrypt data</a:t>
            </a:r>
          </a:p>
          <a:p>
            <a:r>
              <a:rPr lang="en-US" dirty="0"/>
              <a:t>Communication with the processor happens through a set of CSRs</a:t>
            </a:r>
          </a:p>
          <a:p>
            <a:r>
              <a:rPr lang="en-US" dirty="0"/>
              <a:t>The AES unit includes a separate interface through which </a:t>
            </a:r>
            <a:r>
              <a:rPr lang="en-US" i="1" dirty="0" err="1"/>
              <a:t>KeyManager</a:t>
            </a:r>
            <a:r>
              <a:rPr lang="en-US" dirty="0"/>
              <a:t> can provide the key without exposing it to the processor or other hosts attached to the chip interconnect bus.</a:t>
            </a:r>
          </a:p>
          <a:p>
            <a:endParaRPr lang="en-US" dirty="0"/>
          </a:p>
        </p:txBody>
      </p: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C50C0809-7F36-57A4-4735-938FD3D1BF4F}"/>
              </a:ext>
            </a:extLst>
          </p:cNvPr>
          <p:cNvCxnSpPr>
            <a:cxnSpLocks/>
          </p:cNvCxnSpPr>
          <p:nvPr/>
        </p:nvCxnSpPr>
        <p:spPr>
          <a:xfrm>
            <a:off x="5342398" y="3758144"/>
            <a:ext cx="0" cy="818032"/>
          </a:xfrm>
          <a:prstGeom prst="straightConnector1">
            <a:avLst/>
          </a:prstGeom>
          <a:ln w="19050">
            <a:solidFill>
              <a:srgbClr val="00B050"/>
            </a:solidFill>
            <a:headEnd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00874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A59CE0-18CE-9447-F486-8403978474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Application on </a:t>
            </a:r>
            <a:r>
              <a:rPr lang="en-US" sz="2800" dirty="0" err="1"/>
              <a:t>OpenTitan</a:t>
            </a:r>
            <a:r>
              <a:rPr lang="en-US" sz="2800" dirty="0"/>
              <a:t>: AES instan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C9A97A-7CF3-D8E2-EC21-C4CB6F9DE30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Restricted | © Siemens 2024  Siemens Digital Industries Software 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F542343-22AB-F1FC-5592-6DA92661D4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6334337"/>
              </p:ext>
            </p:extLst>
          </p:nvPr>
        </p:nvGraphicFramePr>
        <p:xfrm>
          <a:off x="1491652" y="1462840"/>
          <a:ext cx="8128000" cy="41402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3931647787"/>
                    </a:ext>
                  </a:extLst>
                </a:gridCol>
                <a:gridCol w="2127848">
                  <a:extLst>
                    <a:ext uri="{9D8B030D-6E8A-4147-A177-3AD203B41FA5}">
                      <a16:colId xmlns:a16="http://schemas.microsoft.com/office/drawing/2014/main" val="2428790996"/>
                    </a:ext>
                  </a:extLst>
                </a:gridCol>
                <a:gridCol w="1936152">
                  <a:extLst>
                    <a:ext uri="{9D8B030D-6E8A-4147-A177-3AD203B41FA5}">
                      <a16:colId xmlns:a16="http://schemas.microsoft.com/office/drawing/2014/main" val="2581628436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58360839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ata sour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ata destin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Outco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untim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0152731"/>
                  </a:ext>
                </a:extLst>
              </a:tr>
              <a:tr h="370840">
                <a:tc rowSpan="8">
                  <a:txBody>
                    <a:bodyPr/>
                    <a:lstStyle/>
                    <a:p>
                      <a:pPr algn="ctr"/>
                      <a:r>
                        <a:rPr lang="en-US" dirty="0"/>
                        <a:t>AES instan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bex core data interfa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Functional datapath pres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52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85607863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bex core instr. interfa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-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imeou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23253906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PI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-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Timeou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44270556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UAR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-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Timeou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91954220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V-PLI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-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Timeou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88578028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ebug modu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Functional datapath pres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174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33900559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Main SR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-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imeou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0312323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O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-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imeou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724204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258568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A59CE0-18CE-9447-F486-8403978474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Application on </a:t>
            </a:r>
            <a:r>
              <a:rPr lang="en-US" sz="2800" dirty="0" err="1"/>
              <a:t>OpenTitan</a:t>
            </a:r>
            <a:r>
              <a:rPr lang="en-US" sz="2800" dirty="0"/>
              <a:t>: AES instance (with QAA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C9A97A-7CF3-D8E2-EC21-C4CB6F9DE30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Restricted | © Siemens 2024  Siemens Digital Industries Software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DFD562B-FED1-D5FE-7731-870BAEF7551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14" t="21664" r="10533" b="12065"/>
          <a:stretch/>
        </p:blipFill>
        <p:spPr>
          <a:xfrm>
            <a:off x="4851400" y="1181100"/>
            <a:ext cx="6930200" cy="491814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E56D73CD-ABA7-B8F5-3018-02EF7F17CA1C}"/>
              </a:ext>
            </a:extLst>
          </p:cNvPr>
          <p:cNvSpPr txBox="1"/>
          <p:nvPr/>
        </p:nvSpPr>
        <p:spPr>
          <a:xfrm>
            <a:off x="311150" y="1400350"/>
            <a:ext cx="4438650" cy="3781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285750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/>
            </a:lvl1pPr>
            <a:lvl2pPr marL="742950" lvl="1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</a:defRPr>
            </a:lvl2pPr>
          </a:lstStyle>
          <a:p>
            <a:r>
              <a:rPr lang="en-US" dirty="0"/>
              <a:t>Application of QAA helped in creating a design cluster</a:t>
            </a:r>
          </a:p>
          <a:p>
            <a:r>
              <a:rPr lang="en-US" dirty="0"/>
              <a:t>Ibex-core, debug module, Key manager, TL-UL Crossbar are the design instance that form a design cluster with the AES instance</a:t>
            </a:r>
          </a:p>
          <a:p>
            <a:r>
              <a:rPr lang="en-US" dirty="0"/>
              <a:t>With this information, we could abstract away all other design instances for the formal path analysis</a:t>
            </a:r>
          </a:p>
          <a:p>
            <a:endParaRPr lang="en-US" dirty="0"/>
          </a:p>
        </p:txBody>
      </p:sp>
      <p:sp>
        <p:nvSpPr>
          <p:cNvPr id="6" name="Flowchart: Preparation 5">
            <a:extLst>
              <a:ext uri="{FF2B5EF4-FFF2-40B4-BE49-F238E27FC236}">
                <a16:creationId xmlns:a16="http://schemas.microsoft.com/office/drawing/2014/main" id="{5320017A-FD0C-86D2-C72F-BF21BB45A52B}"/>
              </a:ext>
            </a:extLst>
          </p:cNvPr>
          <p:cNvSpPr/>
          <p:nvPr/>
        </p:nvSpPr>
        <p:spPr>
          <a:xfrm>
            <a:off x="5080000" y="4558200"/>
            <a:ext cx="825500" cy="390252"/>
          </a:xfrm>
          <a:prstGeom prst="flowChartPreparation">
            <a:avLst/>
          </a:prstGeom>
          <a:solidFill>
            <a:schemeClr val="accent2">
              <a:lumMod val="20000"/>
              <a:lumOff val="80000"/>
              <a:alpha val="20000"/>
            </a:schemeClr>
          </a:solidFill>
          <a:ln w="317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7" name="Flowchart: Preparation 6">
            <a:extLst>
              <a:ext uri="{FF2B5EF4-FFF2-40B4-BE49-F238E27FC236}">
                <a16:creationId xmlns:a16="http://schemas.microsoft.com/office/drawing/2014/main" id="{0C48A9FC-98B0-4284-4038-D7FEF35E1317}"/>
              </a:ext>
            </a:extLst>
          </p:cNvPr>
          <p:cNvSpPr/>
          <p:nvPr/>
        </p:nvSpPr>
        <p:spPr>
          <a:xfrm>
            <a:off x="5067300" y="3555300"/>
            <a:ext cx="825500" cy="390252"/>
          </a:xfrm>
          <a:prstGeom prst="flowChartPreparation">
            <a:avLst/>
          </a:prstGeom>
          <a:solidFill>
            <a:schemeClr val="accent2">
              <a:lumMod val="20000"/>
              <a:lumOff val="80000"/>
              <a:alpha val="20000"/>
            </a:schemeClr>
          </a:solidFill>
          <a:ln w="317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9" name="Flowchart: Preparation 8">
            <a:extLst>
              <a:ext uri="{FF2B5EF4-FFF2-40B4-BE49-F238E27FC236}">
                <a16:creationId xmlns:a16="http://schemas.microsoft.com/office/drawing/2014/main" id="{B064B16B-E2D2-3CFE-AB99-193D73E71F36}"/>
              </a:ext>
            </a:extLst>
          </p:cNvPr>
          <p:cNvSpPr/>
          <p:nvPr/>
        </p:nvSpPr>
        <p:spPr>
          <a:xfrm>
            <a:off x="5842000" y="2942652"/>
            <a:ext cx="1460500" cy="486348"/>
          </a:xfrm>
          <a:prstGeom prst="flowChartPreparation">
            <a:avLst/>
          </a:prstGeom>
          <a:solidFill>
            <a:schemeClr val="accent2">
              <a:lumMod val="20000"/>
              <a:lumOff val="80000"/>
              <a:alpha val="20000"/>
            </a:schemeClr>
          </a:solidFill>
          <a:ln w="317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10" name="Flowchart: Preparation 9">
            <a:extLst>
              <a:ext uri="{FF2B5EF4-FFF2-40B4-BE49-F238E27FC236}">
                <a16:creationId xmlns:a16="http://schemas.microsoft.com/office/drawing/2014/main" id="{364EFA0D-1C96-6F26-4ACC-456B3B63BF1D}"/>
              </a:ext>
            </a:extLst>
          </p:cNvPr>
          <p:cNvSpPr/>
          <p:nvPr/>
        </p:nvSpPr>
        <p:spPr>
          <a:xfrm>
            <a:off x="5130800" y="1877676"/>
            <a:ext cx="1460500" cy="938676"/>
          </a:xfrm>
          <a:prstGeom prst="flowChartPreparation">
            <a:avLst/>
          </a:prstGeom>
          <a:solidFill>
            <a:schemeClr val="accent2">
              <a:lumMod val="20000"/>
              <a:lumOff val="80000"/>
              <a:alpha val="20000"/>
            </a:schemeClr>
          </a:solidFill>
          <a:ln w="317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11" name="Flowchart: Preparation 10">
            <a:extLst>
              <a:ext uri="{FF2B5EF4-FFF2-40B4-BE49-F238E27FC236}">
                <a16:creationId xmlns:a16="http://schemas.microsoft.com/office/drawing/2014/main" id="{50EB22F4-A346-4BAD-BF30-A6A5B7AAA158}"/>
              </a:ext>
            </a:extLst>
          </p:cNvPr>
          <p:cNvSpPr/>
          <p:nvPr/>
        </p:nvSpPr>
        <p:spPr>
          <a:xfrm>
            <a:off x="6642100" y="2425700"/>
            <a:ext cx="774700" cy="377952"/>
          </a:xfrm>
          <a:prstGeom prst="flowChartPreparation">
            <a:avLst/>
          </a:prstGeom>
          <a:solidFill>
            <a:schemeClr val="accent2">
              <a:lumMod val="20000"/>
              <a:lumOff val="80000"/>
              <a:alpha val="20000"/>
            </a:schemeClr>
          </a:solidFill>
          <a:ln w="317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mc:AlternateContent xmlns:mc="http://schemas.openxmlformats.org/markup-compatibility/2006">
        <mc:Choice xmlns:p14="http://schemas.microsoft.com/office/powerpoint/2010/main" Requires="p14">
          <p:contentPart p14:bwMode="auto" r:id="rId4">
            <p14:nvContentPartPr>
              <p14:cNvPr id="13" name="Ink 12">
                <a:extLst>
                  <a:ext uri="{FF2B5EF4-FFF2-40B4-BE49-F238E27FC236}">
                    <a16:creationId xmlns:a16="http://schemas.microsoft.com/office/drawing/2014/main" id="{9F0A9872-B58F-6DFF-A2B6-11AE47236AD6}"/>
                  </a:ext>
                </a:extLst>
              </p14:cNvPr>
              <p14:cNvContentPartPr/>
              <p14:nvPr/>
            </p14:nvContentPartPr>
            <p14:xfrm>
              <a:off x="-1714920" y="4482760"/>
              <a:ext cx="360" cy="360"/>
            </p14:xfrm>
          </p:contentPart>
        </mc:Choice>
        <mc:Fallback>
          <p:pic>
            <p:nvPicPr>
              <p:cNvPr id="13" name="Ink 12">
                <a:extLst>
                  <a:ext uri="{FF2B5EF4-FFF2-40B4-BE49-F238E27FC236}">
                    <a16:creationId xmlns:a16="http://schemas.microsoft.com/office/drawing/2014/main" id="{9F0A9872-B58F-6DFF-A2B6-11AE47236AD6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-1721040" y="4476640"/>
                <a:ext cx="12600" cy="12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6">
            <p14:nvContentPartPr>
              <p14:cNvPr id="14" name="Ink 13">
                <a:extLst>
                  <a:ext uri="{FF2B5EF4-FFF2-40B4-BE49-F238E27FC236}">
                    <a16:creationId xmlns:a16="http://schemas.microsoft.com/office/drawing/2014/main" id="{8B9C12F9-E763-96E1-2187-0658DD79C0A6}"/>
                  </a:ext>
                </a:extLst>
              </p14:cNvPr>
              <p14:cNvContentPartPr/>
              <p14:nvPr/>
            </p14:nvContentPartPr>
            <p14:xfrm>
              <a:off x="3745920" y="3289000"/>
              <a:ext cx="360" cy="360"/>
            </p14:xfrm>
          </p:contentPart>
        </mc:Choice>
        <mc:Fallback>
          <p:pic>
            <p:nvPicPr>
              <p:cNvPr id="14" name="Ink 13">
                <a:extLst>
                  <a:ext uri="{FF2B5EF4-FFF2-40B4-BE49-F238E27FC236}">
                    <a16:creationId xmlns:a16="http://schemas.microsoft.com/office/drawing/2014/main" id="{8B9C12F9-E763-96E1-2187-0658DD79C0A6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3739800" y="3282880"/>
                <a:ext cx="12600" cy="126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Requires="p14">
          <p:contentPart p14:bwMode="auto" r:id="rId7">
            <p14:nvContentPartPr>
              <p14:cNvPr id="15" name="Ink 14">
                <a:extLst>
                  <a:ext uri="{FF2B5EF4-FFF2-40B4-BE49-F238E27FC236}">
                    <a16:creationId xmlns:a16="http://schemas.microsoft.com/office/drawing/2014/main" id="{085D7ED0-3B59-6C8F-CE49-521967005A22}"/>
                  </a:ext>
                </a:extLst>
              </p14:cNvPr>
              <p14:cNvContentPartPr/>
              <p14:nvPr/>
            </p14:nvContentPartPr>
            <p14:xfrm>
              <a:off x="1714080" y="2044480"/>
              <a:ext cx="360" cy="360"/>
            </p14:xfrm>
          </p:contentPart>
        </mc:Choice>
        <mc:Fallback>
          <p:pic>
            <p:nvPicPr>
              <p:cNvPr id="15" name="Ink 14">
                <a:extLst>
                  <a:ext uri="{FF2B5EF4-FFF2-40B4-BE49-F238E27FC236}">
                    <a16:creationId xmlns:a16="http://schemas.microsoft.com/office/drawing/2014/main" id="{085D7ED0-3B59-6C8F-CE49-521967005A22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707960" y="2038360"/>
                <a:ext cx="12600" cy="126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5072024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A59CE0-18CE-9447-F486-8403978474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Application on </a:t>
            </a:r>
            <a:r>
              <a:rPr lang="en-US" sz="2800" dirty="0" err="1"/>
              <a:t>OpenTitan</a:t>
            </a:r>
            <a:r>
              <a:rPr lang="en-US" sz="2800" dirty="0"/>
              <a:t>: AES instance (with QAA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C9A97A-7CF3-D8E2-EC21-C4CB6F9DE30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Restricted | © Siemens 2024  Siemens Digital Industries Software 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F542343-22AB-F1FC-5592-6DA92661D4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1873623"/>
              </p:ext>
            </p:extLst>
          </p:nvPr>
        </p:nvGraphicFramePr>
        <p:xfrm>
          <a:off x="1603160" y="1493520"/>
          <a:ext cx="8128000" cy="38709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3931647787"/>
                    </a:ext>
                  </a:extLst>
                </a:gridCol>
                <a:gridCol w="2127848">
                  <a:extLst>
                    <a:ext uri="{9D8B030D-6E8A-4147-A177-3AD203B41FA5}">
                      <a16:colId xmlns:a16="http://schemas.microsoft.com/office/drawing/2014/main" val="2428790996"/>
                    </a:ext>
                  </a:extLst>
                </a:gridCol>
                <a:gridCol w="2692400">
                  <a:extLst>
                    <a:ext uri="{9D8B030D-6E8A-4147-A177-3AD203B41FA5}">
                      <a16:colId xmlns:a16="http://schemas.microsoft.com/office/drawing/2014/main" val="2581628436"/>
                    </a:ext>
                  </a:extLst>
                </a:gridCol>
                <a:gridCol w="1275752">
                  <a:extLst>
                    <a:ext uri="{9D8B030D-6E8A-4147-A177-3AD203B41FA5}">
                      <a16:colId xmlns:a16="http://schemas.microsoft.com/office/drawing/2014/main" val="258360839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ata sour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ata destin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Outco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untim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0152731"/>
                  </a:ext>
                </a:extLst>
              </a:tr>
              <a:tr h="370840">
                <a:tc rowSpan="8">
                  <a:txBody>
                    <a:bodyPr/>
                    <a:lstStyle/>
                    <a:p>
                      <a:pPr algn="ctr"/>
                      <a:r>
                        <a:rPr lang="en-US" dirty="0"/>
                        <a:t>AES instan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bex core data interfa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Functional path </a:t>
                      </a:r>
                      <a:r>
                        <a:rPr lang="en-US" dirty="0">
                          <a:solidFill>
                            <a:srgbClr val="00B0F0"/>
                          </a:solidFill>
                        </a:rPr>
                        <a:t>pres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2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85607863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bex core instr. interfa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Functional path abs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5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23253906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PI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Functional path absent</a:t>
                      </a:r>
                      <a:endParaRPr kumimoji="0" lang="en-US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25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44270556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UAR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Functional path absent</a:t>
                      </a:r>
                      <a:endParaRPr kumimoji="0" lang="en-US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25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91954220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V-PLI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Functional path abs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25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88578028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ebug modu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Functional path </a:t>
                      </a:r>
                      <a:r>
                        <a:rPr lang="en-US" dirty="0">
                          <a:solidFill>
                            <a:srgbClr val="00B0F0"/>
                          </a:solidFill>
                        </a:rPr>
                        <a:t>pres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123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33900559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Main SR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Functional path absent</a:t>
                      </a:r>
                      <a:endParaRPr kumimoji="0" lang="en-US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5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0312323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O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Functional path abs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25s</a:t>
                      </a:r>
                      <a:endParaRPr 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724204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45758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A59CE0-18CE-9447-F486-8403978474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Summary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C9A97A-7CF3-D8E2-EC21-C4CB6F9DE30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Restricted | © Siemens 2024  Siemens Digital Industries Software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DAEB560-3B11-ADDF-2EEB-D64FAD376A6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29000"/>
          </a:blip>
          <a:srcRect l="7536"/>
          <a:stretch/>
        </p:blipFill>
        <p:spPr>
          <a:xfrm>
            <a:off x="425966" y="1248229"/>
            <a:ext cx="11340067" cy="4988309"/>
          </a:xfrm>
          <a:prstGeom prst="rect">
            <a:avLst/>
          </a:prstGeom>
        </p:spPr>
      </p:pic>
      <p:sp>
        <p:nvSpPr>
          <p:cNvPr id="31" name="Rectangle 4">
            <a:extLst>
              <a:ext uri="{FF2B5EF4-FFF2-40B4-BE49-F238E27FC236}">
                <a16:creationId xmlns:a16="http://schemas.microsoft.com/office/drawing/2014/main" id="{5E088973-7BA7-346F-D04F-6EE9E0981E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5966" y="1248229"/>
            <a:ext cx="11324500" cy="43615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b="1" dirty="0"/>
              <a:t>Formal-based methodology effectively helps to safeguards complex digital systems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b="1" dirty="0"/>
              <a:t>Suitable for security verification in large SoCs</a:t>
            </a:r>
          </a:p>
          <a:p>
            <a:pPr marL="285750" marR="0" lvl="0" indent="-285750" algn="l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Questa Analyze Architectures simplifies the application of formal methods</a:t>
            </a:r>
          </a:p>
          <a:p>
            <a:pPr marL="285750" marR="0" lvl="0" indent="-285750" algn="l" defTabSz="91440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</a:rPr>
              <a:t>Questa VerifySecure provides comprehensive path analysis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b="1" dirty="0"/>
              <a:t>Future Work</a:t>
            </a:r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b="1" dirty="0"/>
              <a:t>Further automation in the methodology</a:t>
            </a:r>
          </a:p>
          <a:p>
            <a:pPr marL="742950" lvl="1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US" b="1" dirty="0"/>
              <a:t>Refinement for increasingly larger System on Chips (SoCs)</a:t>
            </a:r>
          </a:p>
          <a:p>
            <a:pPr>
              <a:lnSpc>
                <a:spcPct val="200000"/>
              </a:lnSpc>
            </a:pP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2048517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A59CE0-18CE-9447-F486-8403978474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Datapath requirements in Secure designs</a:t>
            </a:r>
            <a:endParaRPr lang="en-US" sz="2800" b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C9A97A-7CF3-D8E2-EC21-C4CB6F9DE30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9216000" cy="547200"/>
          </a:xfr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Confidential | © Siemens 2024 | Siemens Digital Industries Software</a:t>
            </a:r>
          </a:p>
        </p:txBody>
      </p:sp>
      <p:sp>
        <p:nvSpPr>
          <p:cNvPr id="4" name="Oval 4">
            <a:extLst>
              <a:ext uri="{FF2B5EF4-FFF2-40B4-BE49-F238E27FC236}">
                <a16:creationId xmlns:a16="http://schemas.microsoft.com/office/drawing/2014/main" id="{3B90DFB3-87D2-54DF-F3F4-9D159BFF936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88269" y="1861200"/>
            <a:ext cx="5385353" cy="658351"/>
          </a:xfrm>
          <a:prstGeom prst="homePlate">
            <a:avLst/>
          </a:prstGeom>
          <a:solidFill>
            <a:srgbClr val="333353"/>
          </a:solidFill>
          <a:ln>
            <a:noFill/>
          </a:ln>
          <a:effectLst/>
        </p:spPr>
        <p:txBody>
          <a:bodyPr wrap="none" lIns="84337" tIns="42169" rIns="84337" bIns="42169" anchor="ctr"/>
          <a:lstStyle/>
          <a:p>
            <a:pPr defTabSz="702911">
              <a:spcBef>
                <a:spcPct val="0"/>
              </a:spcBef>
            </a:pPr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ecret data from A should not leak to B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F417E931-445A-5EC5-0F7A-2C6E6CCA4DF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15187" y="1414800"/>
            <a:ext cx="2723596" cy="547200"/>
          </a:xfrm>
          <a:prstGeom prst="homePlate">
            <a:avLst/>
          </a:prstGeom>
          <a:solidFill>
            <a:srgbClr val="00FFB9"/>
          </a:solidFill>
          <a:ln>
            <a:noFill/>
          </a:ln>
          <a:effectLst/>
        </p:spPr>
        <p:txBody>
          <a:bodyPr wrap="none" lIns="84337" tIns="42169" rIns="84337" bIns="42169" anchor="ctr"/>
          <a:lstStyle/>
          <a:p>
            <a:pPr defTabSz="702911">
              <a:spcBef>
                <a:spcPct val="0"/>
              </a:spcBef>
            </a:pPr>
            <a:r>
              <a:rPr lang="en-US" sz="1799" b="1" dirty="0">
                <a:solidFill>
                  <a:schemeClr val="bg1"/>
                </a:solidFill>
              </a:rPr>
              <a:t>Confidentiality</a:t>
            </a:r>
          </a:p>
        </p:txBody>
      </p:sp>
      <p:sp>
        <p:nvSpPr>
          <p:cNvPr id="105" name="Oval 4">
            <a:extLst>
              <a:ext uri="{FF2B5EF4-FFF2-40B4-BE49-F238E27FC236}">
                <a16:creationId xmlns:a16="http://schemas.microsoft.com/office/drawing/2014/main" id="{1721180B-B612-7175-6363-4F6F3889FBE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81081" y="3145600"/>
            <a:ext cx="5385353" cy="658351"/>
          </a:xfrm>
          <a:prstGeom prst="homePlate">
            <a:avLst/>
          </a:prstGeom>
          <a:solidFill>
            <a:srgbClr val="333353"/>
          </a:solidFill>
          <a:ln>
            <a:noFill/>
          </a:ln>
          <a:effectLst/>
        </p:spPr>
        <p:txBody>
          <a:bodyPr wrap="none" lIns="84337" tIns="42169" rIns="84337" bIns="42169" anchor="ctr"/>
          <a:lstStyle/>
          <a:p>
            <a:pPr algn="dist"/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ata from C should not overwrite secret data at A</a:t>
            </a:r>
          </a:p>
        </p:txBody>
      </p:sp>
      <p:sp>
        <p:nvSpPr>
          <p:cNvPr id="106" name="Oval 4">
            <a:extLst>
              <a:ext uri="{FF2B5EF4-FFF2-40B4-BE49-F238E27FC236}">
                <a16:creationId xmlns:a16="http://schemas.microsoft.com/office/drawing/2014/main" id="{675FD483-29CF-AF08-E3B8-17929F7ADFF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07999" y="2699200"/>
            <a:ext cx="2723596" cy="547200"/>
          </a:xfrm>
          <a:prstGeom prst="homePlate">
            <a:avLst/>
          </a:prstGeom>
          <a:solidFill>
            <a:srgbClr val="00FFB9"/>
          </a:solidFill>
          <a:ln>
            <a:noFill/>
          </a:ln>
          <a:effectLst/>
        </p:spPr>
        <p:txBody>
          <a:bodyPr wrap="none" lIns="84337" tIns="42169" rIns="84337" bIns="42169" anchor="ctr"/>
          <a:lstStyle/>
          <a:p>
            <a:pPr defTabSz="702911">
              <a:spcBef>
                <a:spcPct val="0"/>
              </a:spcBef>
            </a:pPr>
            <a:r>
              <a:rPr lang="en-US" sz="1799" b="1" dirty="0">
                <a:solidFill>
                  <a:schemeClr val="bg1"/>
                </a:solidFill>
              </a:rPr>
              <a:t>Integrity</a:t>
            </a:r>
          </a:p>
        </p:txBody>
      </p:sp>
      <p:sp>
        <p:nvSpPr>
          <p:cNvPr id="107" name="Rectangle: Rounded Corners 106">
            <a:extLst>
              <a:ext uri="{FF2B5EF4-FFF2-40B4-BE49-F238E27FC236}">
                <a16:creationId xmlns:a16="http://schemas.microsoft.com/office/drawing/2014/main" id="{AA0DCB8E-C7C6-154B-6230-F5052A57A981}"/>
              </a:ext>
            </a:extLst>
          </p:cNvPr>
          <p:cNvSpPr/>
          <p:nvPr/>
        </p:nvSpPr>
        <p:spPr>
          <a:xfrm>
            <a:off x="7177849" y="2519551"/>
            <a:ext cx="3750580" cy="2792487"/>
          </a:xfrm>
          <a:prstGeom prst="roundRect">
            <a:avLst>
              <a:gd name="adj" fmla="val 0"/>
            </a:avLst>
          </a:prstGeom>
          <a:solidFill>
            <a:srgbClr val="CCCCD4"/>
          </a:solidFill>
          <a:ln w="12700">
            <a:solidFill>
              <a:srgbClr val="9999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bg2"/>
                </a:solidFill>
              </a:rPr>
              <a:t>DUV</a:t>
            </a:r>
          </a:p>
          <a:p>
            <a:pPr algn="ctr"/>
            <a:endParaRPr lang="en-US" sz="1100" b="1" dirty="0">
              <a:solidFill>
                <a:schemeClr val="bg2"/>
              </a:solidFill>
            </a:endParaRPr>
          </a:p>
          <a:p>
            <a:pPr algn="ctr"/>
            <a:endParaRPr lang="en-US" sz="1100" b="1" dirty="0">
              <a:solidFill>
                <a:schemeClr val="bg2"/>
              </a:solidFill>
            </a:endParaRPr>
          </a:p>
          <a:p>
            <a:pPr algn="ctr"/>
            <a:endParaRPr lang="en-US" sz="1100" b="1" dirty="0">
              <a:solidFill>
                <a:schemeClr val="bg2"/>
              </a:solidFill>
            </a:endParaRPr>
          </a:p>
          <a:p>
            <a:pPr algn="ctr"/>
            <a:endParaRPr lang="en-US" sz="1100" b="1" dirty="0">
              <a:solidFill>
                <a:schemeClr val="bg2"/>
              </a:solidFill>
            </a:endParaRPr>
          </a:p>
          <a:p>
            <a:pPr algn="ctr"/>
            <a:endParaRPr lang="en-US" sz="1100" b="1" dirty="0">
              <a:solidFill>
                <a:schemeClr val="bg2"/>
              </a:solidFill>
            </a:endParaRPr>
          </a:p>
          <a:p>
            <a:pPr algn="ctr"/>
            <a:endParaRPr lang="en-US" sz="1100" b="1" dirty="0">
              <a:solidFill>
                <a:schemeClr val="bg2"/>
              </a:solidFill>
            </a:endParaRPr>
          </a:p>
          <a:p>
            <a:pPr algn="ctr"/>
            <a:endParaRPr lang="en-US" sz="1100" b="1" dirty="0">
              <a:solidFill>
                <a:schemeClr val="bg2"/>
              </a:solidFill>
            </a:endParaRPr>
          </a:p>
          <a:p>
            <a:pPr algn="ctr"/>
            <a:endParaRPr lang="en-US" sz="1100" b="1" dirty="0">
              <a:solidFill>
                <a:schemeClr val="bg2"/>
              </a:solidFill>
            </a:endParaRPr>
          </a:p>
          <a:p>
            <a:pPr algn="ctr"/>
            <a:endParaRPr lang="en-US" sz="1100" b="1" dirty="0">
              <a:solidFill>
                <a:schemeClr val="bg2"/>
              </a:solidFill>
            </a:endParaRPr>
          </a:p>
          <a:p>
            <a:pPr algn="ctr"/>
            <a:endParaRPr lang="en-US" sz="1100" b="1" dirty="0">
              <a:solidFill>
                <a:schemeClr val="bg2"/>
              </a:solidFill>
            </a:endParaRPr>
          </a:p>
          <a:p>
            <a:pPr algn="ctr"/>
            <a:endParaRPr lang="en-US" sz="1100" b="1" dirty="0">
              <a:solidFill>
                <a:schemeClr val="bg2"/>
              </a:solidFill>
            </a:endParaRPr>
          </a:p>
          <a:p>
            <a:pPr algn="ctr"/>
            <a:endParaRPr lang="en-US" sz="1100" b="1" dirty="0">
              <a:solidFill>
                <a:schemeClr val="bg2"/>
              </a:solidFill>
            </a:endParaRPr>
          </a:p>
          <a:p>
            <a:pPr algn="ctr"/>
            <a:endParaRPr lang="en-US" sz="1100" b="1" dirty="0">
              <a:solidFill>
                <a:schemeClr val="bg2"/>
              </a:solidFill>
            </a:endParaRPr>
          </a:p>
          <a:p>
            <a:pPr algn="ctr"/>
            <a:endParaRPr lang="en-US" sz="1100" b="1" dirty="0">
              <a:solidFill>
                <a:schemeClr val="bg2"/>
              </a:solidFill>
            </a:endParaRPr>
          </a:p>
        </p:txBody>
      </p:sp>
      <p:sp>
        <p:nvSpPr>
          <p:cNvPr id="218" name="Rectangle: Rounded Corners 217">
            <a:extLst>
              <a:ext uri="{FF2B5EF4-FFF2-40B4-BE49-F238E27FC236}">
                <a16:creationId xmlns:a16="http://schemas.microsoft.com/office/drawing/2014/main" id="{3FFD1BD1-B4C3-1579-55A1-E47667314294}"/>
              </a:ext>
            </a:extLst>
          </p:cNvPr>
          <p:cNvSpPr/>
          <p:nvPr/>
        </p:nvSpPr>
        <p:spPr>
          <a:xfrm>
            <a:off x="8363537" y="4135576"/>
            <a:ext cx="763225" cy="643627"/>
          </a:xfrm>
          <a:prstGeom prst="roundRect">
            <a:avLst/>
          </a:prstGeom>
          <a:solidFill>
            <a:schemeClr val="tx2">
              <a:lumMod val="10000"/>
              <a:alpha val="85000"/>
            </a:schemeClr>
          </a:solidFill>
          <a:ln>
            <a:solidFill>
              <a:srgbClr val="00002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278" name="Oval 4">
            <a:extLst>
              <a:ext uri="{FF2B5EF4-FFF2-40B4-BE49-F238E27FC236}">
                <a16:creationId xmlns:a16="http://schemas.microsoft.com/office/drawing/2014/main" id="{E01F93C0-C20D-36C8-9FFC-1C38F1AE1A7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69724" y="4447842"/>
            <a:ext cx="5385353" cy="658351"/>
          </a:xfrm>
          <a:prstGeom prst="homePlate">
            <a:avLst/>
          </a:prstGeom>
          <a:solidFill>
            <a:srgbClr val="333353"/>
          </a:solidFill>
          <a:ln>
            <a:noFill/>
          </a:ln>
          <a:effectLst/>
        </p:spPr>
        <p:txBody>
          <a:bodyPr wrap="none" lIns="84337" tIns="42169" rIns="84337" bIns="42169" anchor="ctr"/>
          <a:lstStyle/>
          <a:p>
            <a:pPr algn="dist"/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bination of confidentiality (sneak-out) and </a:t>
            </a:r>
          </a:p>
          <a:p>
            <a:pPr algn="dist"/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tegrity (sneak-in) checks</a:t>
            </a:r>
          </a:p>
        </p:txBody>
      </p:sp>
      <p:sp>
        <p:nvSpPr>
          <p:cNvPr id="279" name="Oval 4">
            <a:extLst>
              <a:ext uri="{FF2B5EF4-FFF2-40B4-BE49-F238E27FC236}">
                <a16:creationId xmlns:a16="http://schemas.microsoft.com/office/drawing/2014/main" id="{6DBE19BB-9931-D917-83DE-E33E47C5FFF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10546" y="4006149"/>
            <a:ext cx="2689389" cy="547200"/>
          </a:xfrm>
          <a:prstGeom prst="homePlate">
            <a:avLst/>
          </a:prstGeom>
          <a:solidFill>
            <a:srgbClr val="00FFB9"/>
          </a:solidFill>
          <a:ln>
            <a:noFill/>
          </a:ln>
          <a:effectLst/>
        </p:spPr>
        <p:txBody>
          <a:bodyPr wrap="none" lIns="84337" tIns="42169" rIns="84337" bIns="42169" anchor="ctr"/>
          <a:lstStyle/>
          <a:p>
            <a:pPr defTabSz="702911">
              <a:spcBef>
                <a:spcPct val="0"/>
              </a:spcBef>
            </a:pPr>
            <a:r>
              <a:rPr lang="en-US" sz="1799" b="1" dirty="0">
                <a:solidFill>
                  <a:schemeClr val="bg2"/>
                </a:solidFill>
              </a:rPr>
              <a:t>Sneak path 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631CE27D-9EF6-0A0F-04A1-30BB0070AE68}"/>
              </a:ext>
            </a:extLst>
          </p:cNvPr>
          <p:cNvSpPr/>
          <p:nvPr/>
        </p:nvSpPr>
        <p:spPr>
          <a:xfrm>
            <a:off x="8281622" y="2972208"/>
            <a:ext cx="931522" cy="643627"/>
          </a:xfrm>
          <a:prstGeom prst="roundRect">
            <a:avLst/>
          </a:prstGeom>
          <a:solidFill>
            <a:srgbClr val="999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280" name="Rectangle: Rounded Corners 279">
            <a:extLst>
              <a:ext uri="{FF2B5EF4-FFF2-40B4-BE49-F238E27FC236}">
                <a16:creationId xmlns:a16="http://schemas.microsoft.com/office/drawing/2014/main" id="{69D6847C-99D5-1D2A-A581-A6F67E13649E}"/>
              </a:ext>
            </a:extLst>
          </p:cNvPr>
          <p:cNvSpPr/>
          <p:nvPr/>
        </p:nvSpPr>
        <p:spPr>
          <a:xfrm>
            <a:off x="7340045" y="2986691"/>
            <a:ext cx="684448" cy="643627"/>
          </a:xfrm>
          <a:prstGeom prst="roundRect">
            <a:avLst/>
          </a:prstGeom>
          <a:solidFill>
            <a:srgbClr val="999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grpSp>
        <p:nvGrpSpPr>
          <p:cNvPr id="281" name="Group 280">
            <a:extLst>
              <a:ext uri="{FF2B5EF4-FFF2-40B4-BE49-F238E27FC236}">
                <a16:creationId xmlns:a16="http://schemas.microsoft.com/office/drawing/2014/main" id="{E3EFF5F0-0EFE-A699-6599-552DCAC4384A}"/>
              </a:ext>
            </a:extLst>
          </p:cNvPr>
          <p:cNvGrpSpPr/>
          <p:nvPr/>
        </p:nvGrpSpPr>
        <p:grpSpPr>
          <a:xfrm>
            <a:off x="6860129" y="3070120"/>
            <a:ext cx="316030" cy="1437311"/>
            <a:chOff x="6964680" y="2624840"/>
            <a:chExt cx="316030" cy="1437311"/>
          </a:xfrm>
        </p:grpSpPr>
        <p:cxnSp>
          <p:nvCxnSpPr>
            <p:cNvPr id="282" name="Straight Arrow Connector 281">
              <a:extLst>
                <a:ext uri="{FF2B5EF4-FFF2-40B4-BE49-F238E27FC236}">
                  <a16:creationId xmlns:a16="http://schemas.microsoft.com/office/drawing/2014/main" id="{0197E3DC-FE7A-5853-FAF9-FA3B14E70E53}"/>
                </a:ext>
              </a:extLst>
            </p:cNvPr>
            <p:cNvCxnSpPr>
              <a:cxnSpLocks/>
            </p:cNvCxnSpPr>
            <p:nvPr/>
          </p:nvCxnSpPr>
          <p:spPr>
            <a:xfrm>
              <a:off x="6970491" y="2624840"/>
              <a:ext cx="310219" cy="0"/>
            </a:xfrm>
            <a:prstGeom prst="straightConnector1">
              <a:avLst/>
            </a:prstGeom>
            <a:ln w="50800">
              <a:solidFill>
                <a:srgbClr val="9999A9"/>
              </a:solidFill>
              <a:headEnd w="lg" len="lg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3" name="Straight Arrow Connector 282">
              <a:extLst>
                <a:ext uri="{FF2B5EF4-FFF2-40B4-BE49-F238E27FC236}">
                  <a16:creationId xmlns:a16="http://schemas.microsoft.com/office/drawing/2014/main" id="{6E186FC6-E2A5-3122-1069-A419DDF565B4}"/>
                </a:ext>
              </a:extLst>
            </p:cNvPr>
            <p:cNvCxnSpPr>
              <a:cxnSpLocks/>
            </p:cNvCxnSpPr>
            <p:nvPr/>
          </p:nvCxnSpPr>
          <p:spPr>
            <a:xfrm>
              <a:off x="6964680" y="2933955"/>
              <a:ext cx="310219" cy="0"/>
            </a:xfrm>
            <a:prstGeom prst="straightConnector1">
              <a:avLst/>
            </a:prstGeom>
            <a:ln w="50800">
              <a:solidFill>
                <a:srgbClr val="9999A9"/>
              </a:solidFill>
              <a:headEnd w="lg" len="lg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4" name="Straight Arrow Connector 283">
              <a:extLst>
                <a:ext uri="{FF2B5EF4-FFF2-40B4-BE49-F238E27FC236}">
                  <a16:creationId xmlns:a16="http://schemas.microsoft.com/office/drawing/2014/main" id="{42A4CBB1-3D61-5288-D203-E2625197DCF6}"/>
                </a:ext>
              </a:extLst>
            </p:cNvPr>
            <p:cNvCxnSpPr>
              <a:cxnSpLocks/>
            </p:cNvCxnSpPr>
            <p:nvPr/>
          </p:nvCxnSpPr>
          <p:spPr>
            <a:xfrm>
              <a:off x="6970491" y="3185856"/>
              <a:ext cx="310219" cy="0"/>
            </a:xfrm>
            <a:prstGeom prst="straightConnector1">
              <a:avLst/>
            </a:prstGeom>
            <a:ln w="50800">
              <a:solidFill>
                <a:srgbClr val="9999A9"/>
              </a:solidFill>
              <a:headEnd w="lg" len="lg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5" name="Straight Arrow Connector 284">
              <a:extLst>
                <a:ext uri="{FF2B5EF4-FFF2-40B4-BE49-F238E27FC236}">
                  <a16:creationId xmlns:a16="http://schemas.microsoft.com/office/drawing/2014/main" id="{AA02F8F2-4C9A-C4C7-9599-E0651ABBCC21}"/>
                </a:ext>
              </a:extLst>
            </p:cNvPr>
            <p:cNvCxnSpPr>
              <a:cxnSpLocks/>
            </p:cNvCxnSpPr>
            <p:nvPr/>
          </p:nvCxnSpPr>
          <p:spPr>
            <a:xfrm>
              <a:off x="6964680" y="3494970"/>
              <a:ext cx="310219" cy="0"/>
            </a:xfrm>
            <a:prstGeom prst="straightConnector1">
              <a:avLst/>
            </a:prstGeom>
            <a:ln w="50800">
              <a:solidFill>
                <a:srgbClr val="9999A9"/>
              </a:solidFill>
              <a:headEnd w="lg" len="lg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6" name="Straight Arrow Connector 285">
              <a:extLst>
                <a:ext uri="{FF2B5EF4-FFF2-40B4-BE49-F238E27FC236}">
                  <a16:creationId xmlns:a16="http://schemas.microsoft.com/office/drawing/2014/main" id="{00960935-1474-B480-D1FD-D16292754697}"/>
                </a:ext>
              </a:extLst>
            </p:cNvPr>
            <p:cNvCxnSpPr>
              <a:cxnSpLocks/>
            </p:cNvCxnSpPr>
            <p:nvPr/>
          </p:nvCxnSpPr>
          <p:spPr>
            <a:xfrm>
              <a:off x="6970491" y="3753037"/>
              <a:ext cx="310219" cy="0"/>
            </a:xfrm>
            <a:prstGeom prst="straightConnector1">
              <a:avLst/>
            </a:prstGeom>
            <a:ln w="50800">
              <a:solidFill>
                <a:srgbClr val="9999A9"/>
              </a:solidFill>
              <a:headEnd w="lg" len="lg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7" name="Straight Arrow Connector 286">
              <a:extLst>
                <a:ext uri="{FF2B5EF4-FFF2-40B4-BE49-F238E27FC236}">
                  <a16:creationId xmlns:a16="http://schemas.microsoft.com/office/drawing/2014/main" id="{C99F1B19-99F1-B4DD-F636-3E749954F3CE}"/>
                </a:ext>
              </a:extLst>
            </p:cNvPr>
            <p:cNvCxnSpPr>
              <a:cxnSpLocks/>
            </p:cNvCxnSpPr>
            <p:nvPr/>
          </p:nvCxnSpPr>
          <p:spPr>
            <a:xfrm>
              <a:off x="6964680" y="4062151"/>
              <a:ext cx="310219" cy="0"/>
            </a:xfrm>
            <a:prstGeom prst="straightConnector1">
              <a:avLst/>
            </a:prstGeom>
            <a:ln w="50800">
              <a:solidFill>
                <a:srgbClr val="9999A9"/>
              </a:solidFill>
              <a:headEnd w="lg" len="lg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A28DA032-42F1-1800-8736-8C86F893E48A}"/>
              </a:ext>
            </a:extLst>
          </p:cNvPr>
          <p:cNvGrpSpPr/>
          <p:nvPr/>
        </p:nvGrpSpPr>
        <p:grpSpPr>
          <a:xfrm>
            <a:off x="10919753" y="3069302"/>
            <a:ext cx="316029" cy="1437311"/>
            <a:chOff x="11465571" y="2624022"/>
            <a:chExt cx="316029" cy="1437311"/>
          </a:xfrm>
        </p:grpSpPr>
        <p:cxnSp>
          <p:nvCxnSpPr>
            <p:cNvPr id="109" name="Straight Arrow Connector 108">
              <a:extLst>
                <a:ext uri="{FF2B5EF4-FFF2-40B4-BE49-F238E27FC236}">
                  <a16:creationId xmlns:a16="http://schemas.microsoft.com/office/drawing/2014/main" id="{5B6F2065-DD85-DB25-EDE2-4F8AC34FA919}"/>
                </a:ext>
              </a:extLst>
            </p:cNvPr>
            <p:cNvCxnSpPr>
              <a:cxnSpLocks/>
            </p:cNvCxnSpPr>
            <p:nvPr/>
          </p:nvCxnSpPr>
          <p:spPr>
            <a:xfrm>
              <a:off x="11471381" y="2624022"/>
              <a:ext cx="310219" cy="0"/>
            </a:xfrm>
            <a:prstGeom prst="straightConnector1">
              <a:avLst/>
            </a:prstGeom>
            <a:ln w="50800">
              <a:solidFill>
                <a:srgbClr val="9999A9"/>
              </a:solidFill>
              <a:headEnd w="lg" len="lg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Arrow Connector 109">
              <a:extLst>
                <a:ext uri="{FF2B5EF4-FFF2-40B4-BE49-F238E27FC236}">
                  <a16:creationId xmlns:a16="http://schemas.microsoft.com/office/drawing/2014/main" id="{A095B9EF-B6A9-21FB-93AE-303DB9801CE2}"/>
                </a:ext>
              </a:extLst>
            </p:cNvPr>
            <p:cNvCxnSpPr>
              <a:cxnSpLocks/>
            </p:cNvCxnSpPr>
            <p:nvPr/>
          </p:nvCxnSpPr>
          <p:spPr>
            <a:xfrm>
              <a:off x="11465571" y="2933136"/>
              <a:ext cx="310219" cy="0"/>
            </a:xfrm>
            <a:prstGeom prst="straightConnector1">
              <a:avLst/>
            </a:prstGeom>
            <a:ln w="50800">
              <a:solidFill>
                <a:srgbClr val="9999A9"/>
              </a:solidFill>
              <a:headEnd w="lg" len="lg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Arrow Connector 110">
              <a:extLst>
                <a:ext uri="{FF2B5EF4-FFF2-40B4-BE49-F238E27FC236}">
                  <a16:creationId xmlns:a16="http://schemas.microsoft.com/office/drawing/2014/main" id="{A87CEE96-D6E4-9F7A-C137-63D0890504C9}"/>
                </a:ext>
              </a:extLst>
            </p:cNvPr>
            <p:cNvCxnSpPr>
              <a:cxnSpLocks/>
            </p:cNvCxnSpPr>
            <p:nvPr/>
          </p:nvCxnSpPr>
          <p:spPr>
            <a:xfrm>
              <a:off x="11471381" y="3185038"/>
              <a:ext cx="310219" cy="0"/>
            </a:xfrm>
            <a:prstGeom prst="straightConnector1">
              <a:avLst/>
            </a:prstGeom>
            <a:ln w="50800">
              <a:solidFill>
                <a:srgbClr val="9999A9"/>
              </a:solidFill>
              <a:headEnd w="lg" len="lg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Arrow Connector 111">
              <a:extLst>
                <a:ext uri="{FF2B5EF4-FFF2-40B4-BE49-F238E27FC236}">
                  <a16:creationId xmlns:a16="http://schemas.microsoft.com/office/drawing/2014/main" id="{D32C22B5-8B2E-9610-A9AA-550ECC749801}"/>
                </a:ext>
              </a:extLst>
            </p:cNvPr>
            <p:cNvCxnSpPr>
              <a:cxnSpLocks/>
            </p:cNvCxnSpPr>
            <p:nvPr/>
          </p:nvCxnSpPr>
          <p:spPr>
            <a:xfrm>
              <a:off x="11465571" y="3494152"/>
              <a:ext cx="310219" cy="0"/>
            </a:xfrm>
            <a:prstGeom prst="straightConnector1">
              <a:avLst/>
            </a:prstGeom>
            <a:ln w="50800">
              <a:solidFill>
                <a:srgbClr val="9999A9"/>
              </a:solidFill>
              <a:headEnd w="lg" len="lg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Arrow Connector 112">
              <a:extLst>
                <a:ext uri="{FF2B5EF4-FFF2-40B4-BE49-F238E27FC236}">
                  <a16:creationId xmlns:a16="http://schemas.microsoft.com/office/drawing/2014/main" id="{A984E591-41A7-B480-3214-D81CF87BB7BB}"/>
                </a:ext>
              </a:extLst>
            </p:cNvPr>
            <p:cNvCxnSpPr>
              <a:cxnSpLocks/>
            </p:cNvCxnSpPr>
            <p:nvPr/>
          </p:nvCxnSpPr>
          <p:spPr>
            <a:xfrm>
              <a:off x="11471381" y="3752218"/>
              <a:ext cx="310219" cy="0"/>
            </a:xfrm>
            <a:prstGeom prst="straightConnector1">
              <a:avLst/>
            </a:prstGeom>
            <a:ln w="50800">
              <a:solidFill>
                <a:srgbClr val="9999A9"/>
              </a:solidFill>
              <a:headEnd w="lg" len="lg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Arrow Connector 113">
              <a:extLst>
                <a:ext uri="{FF2B5EF4-FFF2-40B4-BE49-F238E27FC236}">
                  <a16:creationId xmlns:a16="http://schemas.microsoft.com/office/drawing/2014/main" id="{93040D44-5312-A5B1-43C2-AE9DB87B6CFB}"/>
                </a:ext>
              </a:extLst>
            </p:cNvPr>
            <p:cNvCxnSpPr>
              <a:cxnSpLocks/>
            </p:cNvCxnSpPr>
            <p:nvPr/>
          </p:nvCxnSpPr>
          <p:spPr>
            <a:xfrm>
              <a:off x="11465571" y="4061333"/>
              <a:ext cx="310219" cy="0"/>
            </a:xfrm>
            <a:prstGeom prst="straightConnector1">
              <a:avLst/>
            </a:prstGeom>
            <a:ln w="50800">
              <a:solidFill>
                <a:srgbClr val="9999A9"/>
              </a:solidFill>
              <a:headEnd w="lg" len="lg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51069994-D45F-5A1A-64EB-C9A8075B6617}"/>
              </a:ext>
            </a:extLst>
          </p:cNvPr>
          <p:cNvGrpSpPr/>
          <p:nvPr/>
        </p:nvGrpSpPr>
        <p:grpSpPr>
          <a:xfrm>
            <a:off x="7366509" y="3060331"/>
            <a:ext cx="636030" cy="496346"/>
            <a:chOff x="4186001" y="3255872"/>
            <a:chExt cx="636030" cy="496346"/>
          </a:xfrm>
        </p:grpSpPr>
        <p:sp>
          <p:nvSpPr>
            <p:cNvPr id="116" name="Cloud 115">
              <a:extLst>
                <a:ext uri="{FF2B5EF4-FFF2-40B4-BE49-F238E27FC236}">
                  <a16:creationId xmlns:a16="http://schemas.microsoft.com/office/drawing/2014/main" id="{3C96984C-3227-80D7-74B3-7B40F022E99A}"/>
                </a:ext>
              </a:extLst>
            </p:cNvPr>
            <p:cNvSpPr/>
            <p:nvPr/>
          </p:nvSpPr>
          <p:spPr>
            <a:xfrm>
              <a:off x="4186001" y="3255872"/>
              <a:ext cx="636030" cy="496346"/>
            </a:xfrm>
            <a:prstGeom prst="cloud">
              <a:avLst/>
            </a:prstGeom>
            <a:solidFill>
              <a:srgbClr val="CCCCD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en-US"/>
            </a:p>
          </p:txBody>
        </p:sp>
        <p:grpSp>
          <p:nvGrpSpPr>
            <p:cNvPr id="117" name="Group 116">
              <a:extLst>
                <a:ext uri="{FF2B5EF4-FFF2-40B4-BE49-F238E27FC236}">
                  <a16:creationId xmlns:a16="http://schemas.microsoft.com/office/drawing/2014/main" id="{33BAA209-1504-CA56-0CD8-C9475041AE3B}"/>
                </a:ext>
              </a:extLst>
            </p:cNvPr>
            <p:cNvGrpSpPr/>
            <p:nvPr/>
          </p:nvGrpSpPr>
          <p:grpSpPr>
            <a:xfrm>
              <a:off x="4245769" y="3370919"/>
              <a:ext cx="485454" cy="287190"/>
              <a:chOff x="4506904" y="3315906"/>
              <a:chExt cx="503033" cy="282473"/>
            </a:xfrm>
          </p:grpSpPr>
          <p:sp>
            <p:nvSpPr>
              <p:cNvPr id="118" name="Flowchart: Stored Data 117">
                <a:extLst>
                  <a:ext uri="{FF2B5EF4-FFF2-40B4-BE49-F238E27FC236}">
                    <a16:creationId xmlns:a16="http://schemas.microsoft.com/office/drawing/2014/main" id="{DEE6FFB6-7416-E7D8-5221-8319328BBFCC}"/>
                  </a:ext>
                </a:extLst>
              </p:cNvPr>
              <p:cNvSpPr/>
              <p:nvPr/>
            </p:nvSpPr>
            <p:spPr>
              <a:xfrm flipH="1">
                <a:off x="4895465" y="3462460"/>
                <a:ext cx="114472" cy="108250"/>
              </a:xfrm>
              <a:prstGeom prst="flowChartOnlineStorage">
                <a:avLst/>
              </a:prstGeom>
              <a:solidFill>
                <a:srgbClr val="666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 anchorCtr="0"/>
              <a:lstStyle/>
              <a:p>
                <a:pPr algn="l"/>
                <a:endParaRPr lang="en-US"/>
              </a:p>
            </p:txBody>
          </p:sp>
          <p:sp>
            <p:nvSpPr>
              <p:cNvPr id="119" name="Flowchart: Delay 118">
                <a:extLst>
                  <a:ext uri="{FF2B5EF4-FFF2-40B4-BE49-F238E27FC236}">
                    <a16:creationId xmlns:a16="http://schemas.microsoft.com/office/drawing/2014/main" id="{998F3469-777B-E7CE-A1C7-DA075A14E43C}"/>
                  </a:ext>
                </a:extLst>
              </p:cNvPr>
              <p:cNvSpPr/>
              <p:nvPr/>
            </p:nvSpPr>
            <p:spPr>
              <a:xfrm>
                <a:off x="4902395" y="3317746"/>
                <a:ext cx="107541" cy="108250"/>
              </a:xfrm>
              <a:prstGeom prst="flowChartDelay">
                <a:avLst/>
              </a:prstGeom>
              <a:solidFill>
                <a:srgbClr val="666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 anchorCtr="0"/>
              <a:lstStyle/>
              <a:p>
                <a:pPr algn="l"/>
                <a:endParaRPr lang="en-US"/>
              </a:p>
            </p:txBody>
          </p:sp>
          <p:sp>
            <p:nvSpPr>
              <p:cNvPr id="120" name="Flowchart: Extract 119">
                <a:extLst>
                  <a:ext uri="{FF2B5EF4-FFF2-40B4-BE49-F238E27FC236}">
                    <a16:creationId xmlns:a16="http://schemas.microsoft.com/office/drawing/2014/main" id="{A34282AA-38E4-E495-6C1B-8208ED6F4C56}"/>
                  </a:ext>
                </a:extLst>
              </p:cNvPr>
              <p:cNvSpPr/>
              <p:nvPr/>
            </p:nvSpPr>
            <p:spPr>
              <a:xfrm rot="5400000">
                <a:off x="4656433" y="3497298"/>
                <a:ext cx="104224" cy="97938"/>
              </a:xfrm>
              <a:prstGeom prst="flowChartExtract">
                <a:avLst/>
              </a:prstGeom>
              <a:solidFill>
                <a:srgbClr val="666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 anchorCtr="0"/>
              <a:lstStyle/>
              <a:p>
                <a:pPr algn="l"/>
                <a:endParaRPr lang="en-US"/>
              </a:p>
            </p:txBody>
          </p:sp>
          <p:cxnSp>
            <p:nvCxnSpPr>
              <p:cNvPr id="121" name="Straight Arrow Connector 120">
                <a:extLst>
                  <a:ext uri="{FF2B5EF4-FFF2-40B4-BE49-F238E27FC236}">
                    <a16:creationId xmlns:a16="http://schemas.microsoft.com/office/drawing/2014/main" id="{F9554B79-368F-3AA0-DC5A-F4FFF97AB86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06904" y="3547603"/>
                <a:ext cx="152672" cy="0"/>
              </a:xfrm>
              <a:prstGeom prst="straightConnector1">
                <a:avLst/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Arrow Connector 121">
                <a:extLst>
                  <a:ext uri="{FF2B5EF4-FFF2-40B4-BE49-F238E27FC236}">
                    <a16:creationId xmlns:a16="http://schemas.microsoft.com/office/drawing/2014/main" id="{1ECC2716-228B-2D2B-A1AF-FA64C9A31FD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731953" y="3346131"/>
                <a:ext cx="168988" cy="501"/>
              </a:xfrm>
              <a:prstGeom prst="straightConnector1">
                <a:avLst/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Arrow Connector 122">
                <a:extLst>
                  <a:ext uri="{FF2B5EF4-FFF2-40B4-BE49-F238E27FC236}">
                    <a16:creationId xmlns:a16="http://schemas.microsoft.com/office/drawing/2014/main" id="{E69DB10B-F0A0-DCE6-70DE-4D3F44F999F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757514" y="3547603"/>
                <a:ext cx="151912" cy="0"/>
              </a:xfrm>
              <a:prstGeom prst="straightConnector1">
                <a:avLst/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Arrow Connector 123">
                <a:extLst>
                  <a:ext uri="{FF2B5EF4-FFF2-40B4-BE49-F238E27FC236}">
                    <a16:creationId xmlns:a16="http://schemas.microsoft.com/office/drawing/2014/main" id="{550E8F9F-A466-2515-8FDC-3733B08C0EA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21660" y="3362397"/>
                <a:ext cx="152672" cy="0"/>
              </a:xfrm>
              <a:prstGeom prst="straightConnector1">
                <a:avLst/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Connector: Elbow 124">
                <a:extLst>
                  <a:ext uri="{FF2B5EF4-FFF2-40B4-BE49-F238E27FC236}">
                    <a16:creationId xmlns:a16="http://schemas.microsoft.com/office/drawing/2014/main" id="{DA568CEC-1554-9C68-4A60-AE60D115613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06904" y="3446061"/>
                <a:ext cx="398116" cy="39571"/>
              </a:xfrm>
              <a:prstGeom prst="bentConnector3">
                <a:avLst>
                  <a:gd name="adj1" fmla="val 50000"/>
                </a:avLst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Connector: Elbow 125">
                <a:extLst>
                  <a:ext uri="{FF2B5EF4-FFF2-40B4-BE49-F238E27FC236}">
                    <a16:creationId xmlns:a16="http://schemas.microsoft.com/office/drawing/2014/main" id="{B0B6DB2E-B9FC-5E0A-AE76-7DD68CF8552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519192" y="3405210"/>
                <a:ext cx="373805" cy="39571"/>
              </a:xfrm>
              <a:prstGeom prst="bentConnector3">
                <a:avLst>
                  <a:gd name="adj1" fmla="val 69111"/>
                </a:avLst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27" name="Group 126">
                <a:extLst>
                  <a:ext uri="{FF2B5EF4-FFF2-40B4-BE49-F238E27FC236}">
                    <a16:creationId xmlns:a16="http://schemas.microsoft.com/office/drawing/2014/main" id="{DF50B1A4-54E3-D257-449E-6F69C929E264}"/>
                  </a:ext>
                </a:extLst>
              </p:cNvPr>
              <p:cNvGrpSpPr/>
              <p:nvPr/>
            </p:nvGrpSpPr>
            <p:grpSpPr>
              <a:xfrm>
                <a:off x="4674332" y="3315906"/>
                <a:ext cx="76669" cy="90024"/>
                <a:chOff x="4089313" y="3970630"/>
                <a:chExt cx="723484" cy="405704"/>
              </a:xfrm>
            </p:grpSpPr>
            <p:sp>
              <p:nvSpPr>
                <p:cNvPr id="192" name="Rectangle: Rounded Corners 191">
                  <a:extLst>
                    <a:ext uri="{FF2B5EF4-FFF2-40B4-BE49-F238E27FC236}">
                      <a16:creationId xmlns:a16="http://schemas.microsoft.com/office/drawing/2014/main" id="{192559A5-5F8F-5944-0144-9662BCC13637}"/>
                    </a:ext>
                  </a:extLst>
                </p:cNvPr>
                <p:cNvSpPr/>
                <p:nvPr/>
              </p:nvSpPr>
              <p:spPr>
                <a:xfrm>
                  <a:off x="4089313" y="3970630"/>
                  <a:ext cx="723484" cy="405704"/>
                </a:xfrm>
                <a:prstGeom prst="roundRect">
                  <a:avLst>
                    <a:gd name="adj" fmla="val 0"/>
                  </a:avLst>
                </a:prstGeom>
                <a:solidFill>
                  <a:srgbClr val="6666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00" b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93" name="Isosceles Triangle 192">
                  <a:extLst>
                    <a:ext uri="{FF2B5EF4-FFF2-40B4-BE49-F238E27FC236}">
                      <a16:creationId xmlns:a16="http://schemas.microsoft.com/office/drawing/2014/main" id="{4FEB629C-DEE8-D48C-CF44-C029FCC802BD}"/>
                    </a:ext>
                  </a:extLst>
                </p:cNvPr>
                <p:cNvSpPr/>
                <p:nvPr/>
              </p:nvSpPr>
              <p:spPr>
                <a:xfrm rot="5400000">
                  <a:off x="4069857" y="4203956"/>
                  <a:ext cx="191310" cy="125845"/>
                </a:xfrm>
                <a:prstGeom prst="triangle">
                  <a:avLst/>
                </a:prstGeom>
                <a:solidFill>
                  <a:srgbClr val="50007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72000" rIns="108000" bIns="72000" rtlCol="0" anchor="t" anchorCtr="0"/>
                <a:lstStyle/>
                <a:p>
                  <a:pPr algn="l"/>
                  <a:endParaRPr lang="en-US"/>
                </a:p>
              </p:txBody>
            </p:sp>
          </p:grpSp>
        </p:grp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24A68B8E-D617-EED4-5CE4-EAE083BF851A}"/>
              </a:ext>
            </a:extLst>
          </p:cNvPr>
          <p:cNvGrpSpPr/>
          <p:nvPr/>
        </p:nvGrpSpPr>
        <p:grpSpPr>
          <a:xfrm>
            <a:off x="8303769" y="3060331"/>
            <a:ext cx="840062" cy="496346"/>
            <a:chOff x="4186001" y="3255872"/>
            <a:chExt cx="636030" cy="496346"/>
          </a:xfrm>
        </p:grpSpPr>
        <p:sp>
          <p:nvSpPr>
            <p:cNvPr id="195" name="Cloud 194">
              <a:extLst>
                <a:ext uri="{FF2B5EF4-FFF2-40B4-BE49-F238E27FC236}">
                  <a16:creationId xmlns:a16="http://schemas.microsoft.com/office/drawing/2014/main" id="{D9714E31-8AD0-EDE4-2395-57F870234C91}"/>
                </a:ext>
              </a:extLst>
            </p:cNvPr>
            <p:cNvSpPr/>
            <p:nvPr/>
          </p:nvSpPr>
          <p:spPr>
            <a:xfrm>
              <a:off x="4186001" y="3255872"/>
              <a:ext cx="636030" cy="496346"/>
            </a:xfrm>
            <a:prstGeom prst="cloud">
              <a:avLst/>
            </a:prstGeom>
            <a:solidFill>
              <a:srgbClr val="CCCCD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en-US"/>
            </a:p>
          </p:txBody>
        </p:sp>
        <p:grpSp>
          <p:nvGrpSpPr>
            <p:cNvPr id="196" name="Group 195">
              <a:extLst>
                <a:ext uri="{FF2B5EF4-FFF2-40B4-BE49-F238E27FC236}">
                  <a16:creationId xmlns:a16="http://schemas.microsoft.com/office/drawing/2014/main" id="{B1ECD909-F8EE-21DD-FA40-AF28D1584C96}"/>
                </a:ext>
              </a:extLst>
            </p:cNvPr>
            <p:cNvGrpSpPr/>
            <p:nvPr/>
          </p:nvGrpSpPr>
          <p:grpSpPr>
            <a:xfrm>
              <a:off x="4245769" y="3370919"/>
              <a:ext cx="485454" cy="287190"/>
              <a:chOff x="4506904" y="3315906"/>
              <a:chExt cx="503033" cy="282473"/>
            </a:xfrm>
          </p:grpSpPr>
          <p:sp>
            <p:nvSpPr>
              <p:cNvPr id="197" name="Flowchart: Stored Data 196">
                <a:extLst>
                  <a:ext uri="{FF2B5EF4-FFF2-40B4-BE49-F238E27FC236}">
                    <a16:creationId xmlns:a16="http://schemas.microsoft.com/office/drawing/2014/main" id="{ED773EF3-7AF0-5C04-C4C1-B112BE16F342}"/>
                  </a:ext>
                </a:extLst>
              </p:cNvPr>
              <p:cNvSpPr/>
              <p:nvPr/>
            </p:nvSpPr>
            <p:spPr>
              <a:xfrm flipH="1">
                <a:off x="4895465" y="3462460"/>
                <a:ext cx="114472" cy="108250"/>
              </a:xfrm>
              <a:prstGeom prst="flowChartOnlineStorage">
                <a:avLst/>
              </a:prstGeom>
              <a:solidFill>
                <a:srgbClr val="666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 anchorCtr="0"/>
              <a:lstStyle/>
              <a:p>
                <a:pPr algn="l"/>
                <a:endParaRPr lang="en-US"/>
              </a:p>
            </p:txBody>
          </p:sp>
          <p:sp>
            <p:nvSpPr>
              <p:cNvPr id="198" name="Flowchart: Delay 197">
                <a:extLst>
                  <a:ext uri="{FF2B5EF4-FFF2-40B4-BE49-F238E27FC236}">
                    <a16:creationId xmlns:a16="http://schemas.microsoft.com/office/drawing/2014/main" id="{5D791ECF-D0C0-5D58-1E38-5626BA4007F9}"/>
                  </a:ext>
                </a:extLst>
              </p:cNvPr>
              <p:cNvSpPr/>
              <p:nvPr/>
            </p:nvSpPr>
            <p:spPr>
              <a:xfrm>
                <a:off x="4902395" y="3317746"/>
                <a:ext cx="107541" cy="108250"/>
              </a:xfrm>
              <a:prstGeom prst="flowChartDelay">
                <a:avLst/>
              </a:prstGeom>
              <a:solidFill>
                <a:srgbClr val="666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 anchorCtr="0"/>
              <a:lstStyle/>
              <a:p>
                <a:pPr algn="l"/>
                <a:endParaRPr lang="en-US"/>
              </a:p>
            </p:txBody>
          </p:sp>
          <p:sp>
            <p:nvSpPr>
              <p:cNvPr id="199" name="Flowchart: Extract 198">
                <a:extLst>
                  <a:ext uri="{FF2B5EF4-FFF2-40B4-BE49-F238E27FC236}">
                    <a16:creationId xmlns:a16="http://schemas.microsoft.com/office/drawing/2014/main" id="{8ACB0D4D-AF42-45BB-43C0-C0339633FA9C}"/>
                  </a:ext>
                </a:extLst>
              </p:cNvPr>
              <p:cNvSpPr/>
              <p:nvPr/>
            </p:nvSpPr>
            <p:spPr>
              <a:xfrm rot="5400000">
                <a:off x="4656433" y="3497298"/>
                <a:ext cx="104224" cy="97938"/>
              </a:xfrm>
              <a:prstGeom prst="flowChartExtract">
                <a:avLst/>
              </a:prstGeom>
              <a:solidFill>
                <a:srgbClr val="666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 anchorCtr="0"/>
              <a:lstStyle/>
              <a:p>
                <a:pPr algn="l"/>
                <a:endParaRPr lang="en-US"/>
              </a:p>
            </p:txBody>
          </p:sp>
          <p:cxnSp>
            <p:nvCxnSpPr>
              <p:cNvPr id="200" name="Straight Arrow Connector 199">
                <a:extLst>
                  <a:ext uri="{FF2B5EF4-FFF2-40B4-BE49-F238E27FC236}">
                    <a16:creationId xmlns:a16="http://schemas.microsoft.com/office/drawing/2014/main" id="{AF810FD1-5874-CC94-4915-D5437394C21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06904" y="3547603"/>
                <a:ext cx="152672" cy="0"/>
              </a:xfrm>
              <a:prstGeom prst="straightConnector1">
                <a:avLst/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1" name="Straight Arrow Connector 200">
                <a:extLst>
                  <a:ext uri="{FF2B5EF4-FFF2-40B4-BE49-F238E27FC236}">
                    <a16:creationId xmlns:a16="http://schemas.microsoft.com/office/drawing/2014/main" id="{0DF21174-6A43-0783-63B5-8B94DA53B8E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731953" y="3346131"/>
                <a:ext cx="168988" cy="501"/>
              </a:xfrm>
              <a:prstGeom prst="straightConnector1">
                <a:avLst/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2" name="Straight Arrow Connector 201">
                <a:extLst>
                  <a:ext uri="{FF2B5EF4-FFF2-40B4-BE49-F238E27FC236}">
                    <a16:creationId xmlns:a16="http://schemas.microsoft.com/office/drawing/2014/main" id="{374DAC36-9021-8E1F-7CD6-95AD54B0446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757514" y="3547603"/>
                <a:ext cx="151912" cy="0"/>
              </a:xfrm>
              <a:prstGeom prst="straightConnector1">
                <a:avLst/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3" name="Straight Arrow Connector 202">
                <a:extLst>
                  <a:ext uri="{FF2B5EF4-FFF2-40B4-BE49-F238E27FC236}">
                    <a16:creationId xmlns:a16="http://schemas.microsoft.com/office/drawing/2014/main" id="{D4763F4E-1BFB-6DF6-58B3-E3CCF6D9883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21660" y="3362397"/>
                <a:ext cx="152672" cy="0"/>
              </a:xfrm>
              <a:prstGeom prst="straightConnector1">
                <a:avLst/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4" name="Connector: Elbow 203">
                <a:extLst>
                  <a:ext uri="{FF2B5EF4-FFF2-40B4-BE49-F238E27FC236}">
                    <a16:creationId xmlns:a16="http://schemas.microsoft.com/office/drawing/2014/main" id="{4BA697C1-9308-506B-4C62-327622B63B7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06904" y="3446061"/>
                <a:ext cx="398116" cy="39571"/>
              </a:xfrm>
              <a:prstGeom prst="bentConnector3">
                <a:avLst>
                  <a:gd name="adj1" fmla="val 50000"/>
                </a:avLst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5" name="Connector: Elbow 204">
                <a:extLst>
                  <a:ext uri="{FF2B5EF4-FFF2-40B4-BE49-F238E27FC236}">
                    <a16:creationId xmlns:a16="http://schemas.microsoft.com/office/drawing/2014/main" id="{B0AD0868-7ACE-E3D6-B54C-4D5AEB38C43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519192" y="3405210"/>
                <a:ext cx="373805" cy="39571"/>
              </a:xfrm>
              <a:prstGeom prst="bentConnector3">
                <a:avLst>
                  <a:gd name="adj1" fmla="val 69111"/>
                </a:avLst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88" name="Group 287">
                <a:extLst>
                  <a:ext uri="{FF2B5EF4-FFF2-40B4-BE49-F238E27FC236}">
                    <a16:creationId xmlns:a16="http://schemas.microsoft.com/office/drawing/2014/main" id="{2F439AFB-9A50-F36D-CB33-E016C17ED6C9}"/>
                  </a:ext>
                </a:extLst>
              </p:cNvPr>
              <p:cNvGrpSpPr/>
              <p:nvPr/>
            </p:nvGrpSpPr>
            <p:grpSpPr>
              <a:xfrm>
                <a:off x="4674332" y="3315906"/>
                <a:ext cx="76669" cy="90024"/>
                <a:chOff x="4089313" y="3970630"/>
                <a:chExt cx="723484" cy="405704"/>
              </a:xfrm>
            </p:grpSpPr>
            <p:sp>
              <p:nvSpPr>
                <p:cNvPr id="289" name="Rectangle: Rounded Corners 288">
                  <a:extLst>
                    <a:ext uri="{FF2B5EF4-FFF2-40B4-BE49-F238E27FC236}">
                      <a16:creationId xmlns:a16="http://schemas.microsoft.com/office/drawing/2014/main" id="{088BEB03-94CD-65A0-4A7A-16281FBB22F3}"/>
                    </a:ext>
                  </a:extLst>
                </p:cNvPr>
                <p:cNvSpPr/>
                <p:nvPr/>
              </p:nvSpPr>
              <p:spPr>
                <a:xfrm>
                  <a:off x="4089313" y="3970630"/>
                  <a:ext cx="723484" cy="405704"/>
                </a:xfrm>
                <a:prstGeom prst="roundRect">
                  <a:avLst>
                    <a:gd name="adj" fmla="val 0"/>
                  </a:avLst>
                </a:prstGeom>
                <a:solidFill>
                  <a:srgbClr val="6666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00" b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90" name="Isosceles Triangle 289">
                  <a:extLst>
                    <a:ext uri="{FF2B5EF4-FFF2-40B4-BE49-F238E27FC236}">
                      <a16:creationId xmlns:a16="http://schemas.microsoft.com/office/drawing/2014/main" id="{57555BA8-B02E-537A-A418-56DE43958E7A}"/>
                    </a:ext>
                  </a:extLst>
                </p:cNvPr>
                <p:cNvSpPr/>
                <p:nvPr/>
              </p:nvSpPr>
              <p:spPr>
                <a:xfrm rot="5400000">
                  <a:off x="4069857" y="4203956"/>
                  <a:ext cx="191310" cy="125845"/>
                </a:xfrm>
                <a:prstGeom prst="triangle">
                  <a:avLst/>
                </a:prstGeom>
                <a:solidFill>
                  <a:srgbClr val="50007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72000" rIns="108000" bIns="72000" rtlCol="0" anchor="t" anchorCtr="0"/>
                <a:lstStyle/>
                <a:p>
                  <a:pPr algn="l"/>
                  <a:endParaRPr lang="en-US"/>
                </a:p>
              </p:txBody>
            </p:sp>
          </p:grpSp>
        </p:grpSp>
      </p:grpSp>
      <p:sp>
        <p:nvSpPr>
          <p:cNvPr id="291" name="Rectangle: Rounded Corners 290">
            <a:extLst>
              <a:ext uri="{FF2B5EF4-FFF2-40B4-BE49-F238E27FC236}">
                <a16:creationId xmlns:a16="http://schemas.microsoft.com/office/drawing/2014/main" id="{267582C4-95BE-49CC-E6F8-AF49068D6CFF}"/>
              </a:ext>
            </a:extLst>
          </p:cNvPr>
          <p:cNvSpPr/>
          <p:nvPr/>
        </p:nvSpPr>
        <p:spPr>
          <a:xfrm>
            <a:off x="9612351" y="2966438"/>
            <a:ext cx="684448" cy="643627"/>
          </a:xfrm>
          <a:prstGeom prst="roundRect">
            <a:avLst/>
          </a:prstGeom>
          <a:solidFill>
            <a:srgbClr val="999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grpSp>
        <p:nvGrpSpPr>
          <p:cNvPr id="292" name="Group 291">
            <a:extLst>
              <a:ext uri="{FF2B5EF4-FFF2-40B4-BE49-F238E27FC236}">
                <a16:creationId xmlns:a16="http://schemas.microsoft.com/office/drawing/2014/main" id="{E67B4D6F-19D1-0F51-247A-A2F4769F3ED9}"/>
              </a:ext>
            </a:extLst>
          </p:cNvPr>
          <p:cNvGrpSpPr/>
          <p:nvPr/>
        </p:nvGrpSpPr>
        <p:grpSpPr>
          <a:xfrm>
            <a:off x="9638815" y="3040078"/>
            <a:ext cx="636030" cy="496346"/>
            <a:chOff x="4186001" y="3255872"/>
            <a:chExt cx="636030" cy="496346"/>
          </a:xfrm>
        </p:grpSpPr>
        <p:sp>
          <p:nvSpPr>
            <p:cNvPr id="293" name="Cloud 292">
              <a:extLst>
                <a:ext uri="{FF2B5EF4-FFF2-40B4-BE49-F238E27FC236}">
                  <a16:creationId xmlns:a16="http://schemas.microsoft.com/office/drawing/2014/main" id="{1855A49D-CE62-9096-24CE-8210171F7395}"/>
                </a:ext>
              </a:extLst>
            </p:cNvPr>
            <p:cNvSpPr/>
            <p:nvPr/>
          </p:nvSpPr>
          <p:spPr>
            <a:xfrm>
              <a:off x="4186001" y="3255872"/>
              <a:ext cx="636030" cy="496346"/>
            </a:xfrm>
            <a:prstGeom prst="cloud">
              <a:avLst/>
            </a:prstGeom>
            <a:solidFill>
              <a:srgbClr val="CCCCD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en-US"/>
            </a:p>
          </p:txBody>
        </p:sp>
        <p:grpSp>
          <p:nvGrpSpPr>
            <p:cNvPr id="294" name="Group 293">
              <a:extLst>
                <a:ext uri="{FF2B5EF4-FFF2-40B4-BE49-F238E27FC236}">
                  <a16:creationId xmlns:a16="http://schemas.microsoft.com/office/drawing/2014/main" id="{AC779293-37CA-F9AE-0707-9C1C8EA5AA67}"/>
                </a:ext>
              </a:extLst>
            </p:cNvPr>
            <p:cNvGrpSpPr/>
            <p:nvPr/>
          </p:nvGrpSpPr>
          <p:grpSpPr>
            <a:xfrm>
              <a:off x="4245769" y="3370919"/>
              <a:ext cx="485454" cy="287190"/>
              <a:chOff x="4506904" y="3315906"/>
              <a:chExt cx="503033" cy="282473"/>
            </a:xfrm>
          </p:grpSpPr>
          <p:sp>
            <p:nvSpPr>
              <p:cNvPr id="295" name="Flowchart: Stored Data 294">
                <a:extLst>
                  <a:ext uri="{FF2B5EF4-FFF2-40B4-BE49-F238E27FC236}">
                    <a16:creationId xmlns:a16="http://schemas.microsoft.com/office/drawing/2014/main" id="{D8D67F02-C928-8A88-83EC-6EB6990D1425}"/>
                  </a:ext>
                </a:extLst>
              </p:cNvPr>
              <p:cNvSpPr/>
              <p:nvPr/>
            </p:nvSpPr>
            <p:spPr>
              <a:xfrm flipH="1">
                <a:off x="4895465" y="3462460"/>
                <a:ext cx="114472" cy="108250"/>
              </a:xfrm>
              <a:prstGeom prst="flowChartOnlineStorage">
                <a:avLst/>
              </a:prstGeom>
              <a:solidFill>
                <a:srgbClr val="666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 anchorCtr="0"/>
              <a:lstStyle/>
              <a:p>
                <a:pPr algn="l"/>
                <a:endParaRPr lang="en-US"/>
              </a:p>
            </p:txBody>
          </p:sp>
          <p:sp>
            <p:nvSpPr>
              <p:cNvPr id="296" name="Flowchart: Delay 295">
                <a:extLst>
                  <a:ext uri="{FF2B5EF4-FFF2-40B4-BE49-F238E27FC236}">
                    <a16:creationId xmlns:a16="http://schemas.microsoft.com/office/drawing/2014/main" id="{329994EA-E719-8290-DA91-42823552041D}"/>
                  </a:ext>
                </a:extLst>
              </p:cNvPr>
              <p:cNvSpPr/>
              <p:nvPr/>
            </p:nvSpPr>
            <p:spPr>
              <a:xfrm>
                <a:off x="4902395" y="3317746"/>
                <a:ext cx="107541" cy="108250"/>
              </a:xfrm>
              <a:prstGeom prst="flowChartDelay">
                <a:avLst/>
              </a:prstGeom>
              <a:solidFill>
                <a:srgbClr val="666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 anchorCtr="0"/>
              <a:lstStyle/>
              <a:p>
                <a:pPr algn="l"/>
                <a:endParaRPr lang="en-US"/>
              </a:p>
            </p:txBody>
          </p:sp>
          <p:sp>
            <p:nvSpPr>
              <p:cNvPr id="297" name="Flowchart: Extract 296">
                <a:extLst>
                  <a:ext uri="{FF2B5EF4-FFF2-40B4-BE49-F238E27FC236}">
                    <a16:creationId xmlns:a16="http://schemas.microsoft.com/office/drawing/2014/main" id="{5B207DC1-82DA-9A42-38CB-0C11B8ADE752}"/>
                  </a:ext>
                </a:extLst>
              </p:cNvPr>
              <p:cNvSpPr/>
              <p:nvPr/>
            </p:nvSpPr>
            <p:spPr>
              <a:xfrm rot="5400000">
                <a:off x="4656433" y="3497298"/>
                <a:ext cx="104224" cy="97938"/>
              </a:xfrm>
              <a:prstGeom prst="flowChartExtract">
                <a:avLst/>
              </a:prstGeom>
              <a:solidFill>
                <a:srgbClr val="666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 anchorCtr="0"/>
              <a:lstStyle/>
              <a:p>
                <a:pPr algn="l"/>
                <a:endParaRPr lang="en-US"/>
              </a:p>
            </p:txBody>
          </p:sp>
          <p:cxnSp>
            <p:nvCxnSpPr>
              <p:cNvPr id="298" name="Straight Arrow Connector 297">
                <a:extLst>
                  <a:ext uri="{FF2B5EF4-FFF2-40B4-BE49-F238E27FC236}">
                    <a16:creationId xmlns:a16="http://schemas.microsoft.com/office/drawing/2014/main" id="{66799D9C-0B39-750B-340C-409D83B4B1B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06904" y="3547603"/>
                <a:ext cx="152672" cy="0"/>
              </a:xfrm>
              <a:prstGeom prst="straightConnector1">
                <a:avLst/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9" name="Straight Arrow Connector 298">
                <a:extLst>
                  <a:ext uri="{FF2B5EF4-FFF2-40B4-BE49-F238E27FC236}">
                    <a16:creationId xmlns:a16="http://schemas.microsoft.com/office/drawing/2014/main" id="{B3943107-4045-FCF9-420A-85E64486430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731953" y="3346131"/>
                <a:ext cx="168988" cy="501"/>
              </a:xfrm>
              <a:prstGeom prst="straightConnector1">
                <a:avLst/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0" name="Straight Arrow Connector 299">
                <a:extLst>
                  <a:ext uri="{FF2B5EF4-FFF2-40B4-BE49-F238E27FC236}">
                    <a16:creationId xmlns:a16="http://schemas.microsoft.com/office/drawing/2014/main" id="{D0E9BA8B-D428-DE1D-8FD7-BF5269FF10D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757514" y="3547603"/>
                <a:ext cx="151912" cy="0"/>
              </a:xfrm>
              <a:prstGeom prst="straightConnector1">
                <a:avLst/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1" name="Straight Arrow Connector 300">
                <a:extLst>
                  <a:ext uri="{FF2B5EF4-FFF2-40B4-BE49-F238E27FC236}">
                    <a16:creationId xmlns:a16="http://schemas.microsoft.com/office/drawing/2014/main" id="{166FA360-4891-3A90-9E8A-F852F75D2BB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21660" y="3362397"/>
                <a:ext cx="152672" cy="0"/>
              </a:xfrm>
              <a:prstGeom prst="straightConnector1">
                <a:avLst/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2" name="Connector: Elbow 301">
                <a:extLst>
                  <a:ext uri="{FF2B5EF4-FFF2-40B4-BE49-F238E27FC236}">
                    <a16:creationId xmlns:a16="http://schemas.microsoft.com/office/drawing/2014/main" id="{DD22AA12-4209-3D20-3E03-5D957D0BD9F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06904" y="3446061"/>
                <a:ext cx="398116" cy="39571"/>
              </a:xfrm>
              <a:prstGeom prst="bentConnector3">
                <a:avLst>
                  <a:gd name="adj1" fmla="val 50000"/>
                </a:avLst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3" name="Connector: Elbow 302">
                <a:extLst>
                  <a:ext uri="{FF2B5EF4-FFF2-40B4-BE49-F238E27FC236}">
                    <a16:creationId xmlns:a16="http://schemas.microsoft.com/office/drawing/2014/main" id="{B51F6C11-2E9D-DBA4-9DD4-DCF7EE088EA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519192" y="3405210"/>
                <a:ext cx="373805" cy="39571"/>
              </a:xfrm>
              <a:prstGeom prst="bentConnector3">
                <a:avLst>
                  <a:gd name="adj1" fmla="val 69111"/>
                </a:avLst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04" name="Group 303">
                <a:extLst>
                  <a:ext uri="{FF2B5EF4-FFF2-40B4-BE49-F238E27FC236}">
                    <a16:creationId xmlns:a16="http://schemas.microsoft.com/office/drawing/2014/main" id="{4534CEB6-16B4-9253-2946-628043E62FA8}"/>
                  </a:ext>
                </a:extLst>
              </p:cNvPr>
              <p:cNvGrpSpPr/>
              <p:nvPr/>
            </p:nvGrpSpPr>
            <p:grpSpPr>
              <a:xfrm>
                <a:off x="4674332" y="3315906"/>
                <a:ext cx="76669" cy="90024"/>
                <a:chOff x="4089313" y="3970630"/>
                <a:chExt cx="723484" cy="405704"/>
              </a:xfrm>
            </p:grpSpPr>
            <p:sp>
              <p:nvSpPr>
                <p:cNvPr id="305" name="Rectangle: Rounded Corners 304">
                  <a:extLst>
                    <a:ext uri="{FF2B5EF4-FFF2-40B4-BE49-F238E27FC236}">
                      <a16:creationId xmlns:a16="http://schemas.microsoft.com/office/drawing/2014/main" id="{E57744F4-80B2-2707-5ED5-92C14BFB3292}"/>
                    </a:ext>
                  </a:extLst>
                </p:cNvPr>
                <p:cNvSpPr/>
                <p:nvPr/>
              </p:nvSpPr>
              <p:spPr>
                <a:xfrm>
                  <a:off x="4089313" y="3970630"/>
                  <a:ext cx="723484" cy="405704"/>
                </a:xfrm>
                <a:prstGeom prst="roundRect">
                  <a:avLst>
                    <a:gd name="adj" fmla="val 0"/>
                  </a:avLst>
                </a:prstGeom>
                <a:solidFill>
                  <a:srgbClr val="6666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00" b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06" name="Isosceles Triangle 305">
                  <a:extLst>
                    <a:ext uri="{FF2B5EF4-FFF2-40B4-BE49-F238E27FC236}">
                      <a16:creationId xmlns:a16="http://schemas.microsoft.com/office/drawing/2014/main" id="{88EF0DEF-70AD-94D3-F0A9-CD15B6268104}"/>
                    </a:ext>
                  </a:extLst>
                </p:cNvPr>
                <p:cNvSpPr/>
                <p:nvPr/>
              </p:nvSpPr>
              <p:spPr>
                <a:xfrm rot="5400000">
                  <a:off x="4069857" y="4203956"/>
                  <a:ext cx="191310" cy="125845"/>
                </a:xfrm>
                <a:prstGeom prst="triangle">
                  <a:avLst/>
                </a:prstGeom>
                <a:solidFill>
                  <a:srgbClr val="50007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72000" rIns="108000" bIns="72000" rtlCol="0" anchor="t" anchorCtr="0"/>
                <a:lstStyle/>
                <a:p>
                  <a:pPr algn="l"/>
                  <a:endParaRPr lang="en-US"/>
                </a:p>
              </p:txBody>
            </p:sp>
          </p:grpSp>
        </p:grpSp>
      </p:grpSp>
      <p:cxnSp>
        <p:nvCxnSpPr>
          <p:cNvPr id="307" name="Straight Arrow Connector 306">
            <a:extLst>
              <a:ext uri="{FF2B5EF4-FFF2-40B4-BE49-F238E27FC236}">
                <a16:creationId xmlns:a16="http://schemas.microsoft.com/office/drawing/2014/main" id="{3B03083B-0C24-7FA3-D9C2-1C4A5D7B9B59}"/>
              </a:ext>
            </a:extLst>
          </p:cNvPr>
          <p:cNvCxnSpPr>
            <a:cxnSpLocks/>
          </p:cNvCxnSpPr>
          <p:nvPr/>
        </p:nvCxnSpPr>
        <p:spPr>
          <a:xfrm flipV="1">
            <a:off x="7290879" y="3759372"/>
            <a:ext cx="3574080" cy="263849"/>
          </a:xfrm>
          <a:prstGeom prst="straightConnector1">
            <a:avLst/>
          </a:prstGeom>
          <a:ln w="50800" cmpd="dbl">
            <a:solidFill>
              <a:srgbClr val="FF0000"/>
            </a:solidFill>
            <a:prstDash val="sysDash"/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8" name="Rectangle: Rounded Corners 307">
            <a:extLst>
              <a:ext uri="{FF2B5EF4-FFF2-40B4-BE49-F238E27FC236}">
                <a16:creationId xmlns:a16="http://schemas.microsoft.com/office/drawing/2014/main" id="{C8B2C722-338E-7A6B-F16C-A50AEB5C591C}"/>
              </a:ext>
            </a:extLst>
          </p:cNvPr>
          <p:cNvSpPr/>
          <p:nvPr/>
        </p:nvSpPr>
        <p:spPr>
          <a:xfrm>
            <a:off x="10838039" y="3541177"/>
            <a:ext cx="264855" cy="313886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n-US" sz="1600">
                <a:solidFill>
                  <a:schemeClr val="tx1"/>
                </a:solidFill>
              </a:rPr>
              <a:t>E</a:t>
            </a:r>
            <a:endParaRPr lang="en-US" sz="2800">
              <a:solidFill>
                <a:schemeClr val="tx1"/>
              </a:solidFill>
            </a:endParaRPr>
          </a:p>
        </p:txBody>
      </p:sp>
      <p:sp>
        <p:nvSpPr>
          <p:cNvPr id="309" name="Rectangle: Rounded Corners 308">
            <a:extLst>
              <a:ext uri="{FF2B5EF4-FFF2-40B4-BE49-F238E27FC236}">
                <a16:creationId xmlns:a16="http://schemas.microsoft.com/office/drawing/2014/main" id="{015801CC-3206-EB65-87F0-A4B35C9C71B3}"/>
              </a:ext>
            </a:extLst>
          </p:cNvPr>
          <p:cNvSpPr/>
          <p:nvPr/>
        </p:nvSpPr>
        <p:spPr>
          <a:xfrm>
            <a:off x="7106199" y="3820465"/>
            <a:ext cx="264855" cy="313886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D</a:t>
            </a:r>
            <a:endParaRPr lang="en-US" sz="2800" dirty="0">
              <a:solidFill>
                <a:schemeClr val="tx1"/>
              </a:solidFill>
            </a:endParaRPr>
          </a:p>
        </p:txBody>
      </p:sp>
      <p:cxnSp>
        <p:nvCxnSpPr>
          <p:cNvPr id="310" name="Straight Arrow Connector 309">
            <a:extLst>
              <a:ext uri="{FF2B5EF4-FFF2-40B4-BE49-F238E27FC236}">
                <a16:creationId xmlns:a16="http://schemas.microsoft.com/office/drawing/2014/main" id="{A095B319-8C97-065F-5467-0B4AA74E186E}"/>
              </a:ext>
            </a:extLst>
          </p:cNvPr>
          <p:cNvCxnSpPr>
            <a:cxnSpLocks/>
            <a:stCxn id="309" idx="3"/>
            <a:endCxn id="195" idx="2"/>
          </p:cNvCxnSpPr>
          <p:nvPr/>
        </p:nvCxnSpPr>
        <p:spPr>
          <a:xfrm flipV="1">
            <a:off x="7371054" y="3308504"/>
            <a:ext cx="935321" cy="668904"/>
          </a:xfrm>
          <a:prstGeom prst="straightConnector1">
            <a:avLst/>
          </a:prstGeom>
          <a:ln w="50800" cmpd="dbl">
            <a:solidFill>
              <a:schemeClr val="accent2"/>
            </a:solidFill>
            <a:prstDash val="sysDash"/>
            <a:headEnd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1" name="Straight Arrow Connector 310">
            <a:extLst>
              <a:ext uri="{FF2B5EF4-FFF2-40B4-BE49-F238E27FC236}">
                <a16:creationId xmlns:a16="http://schemas.microsoft.com/office/drawing/2014/main" id="{B484CE68-2814-D506-43A4-A04F5D210ECA}"/>
              </a:ext>
            </a:extLst>
          </p:cNvPr>
          <p:cNvCxnSpPr>
            <a:cxnSpLocks/>
            <a:stCxn id="6" idx="3"/>
            <a:endCxn id="308" idx="1"/>
          </p:cNvCxnSpPr>
          <p:nvPr/>
        </p:nvCxnSpPr>
        <p:spPr>
          <a:xfrm>
            <a:off x="9213144" y="3294022"/>
            <a:ext cx="1624895" cy="404098"/>
          </a:xfrm>
          <a:prstGeom prst="straightConnector1">
            <a:avLst/>
          </a:prstGeom>
          <a:ln w="50800" cmpd="dbl">
            <a:solidFill>
              <a:schemeClr val="accent2"/>
            </a:solidFill>
            <a:prstDash val="sysDash"/>
            <a:headEnd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2" name="Straight Arrow Connector 311">
            <a:extLst>
              <a:ext uri="{FF2B5EF4-FFF2-40B4-BE49-F238E27FC236}">
                <a16:creationId xmlns:a16="http://schemas.microsoft.com/office/drawing/2014/main" id="{307F0B1C-F3A8-E7BB-F440-3C5588C1AF2F}"/>
              </a:ext>
            </a:extLst>
          </p:cNvPr>
          <p:cNvCxnSpPr>
            <a:cxnSpLocks/>
            <a:stCxn id="195" idx="2"/>
            <a:endCxn id="6" idx="3"/>
          </p:cNvCxnSpPr>
          <p:nvPr/>
        </p:nvCxnSpPr>
        <p:spPr>
          <a:xfrm flipV="1">
            <a:off x="8306375" y="3294022"/>
            <a:ext cx="906769" cy="14482"/>
          </a:xfrm>
          <a:prstGeom prst="straightConnector1">
            <a:avLst/>
          </a:prstGeom>
          <a:ln w="50800" cmpd="dbl">
            <a:solidFill>
              <a:schemeClr val="accent2"/>
            </a:solidFill>
            <a:prstDash val="sysDash"/>
            <a:headEnd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3" name="TextBox 312">
            <a:extLst>
              <a:ext uri="{FF2B5EF4-FFF2-40B4-BE49-F238E27FC236}">
                <a16:creationId xmlns:a16="http://schemas.microsoft.com/office/drawing/2014/main" id="{4ECB4C95-EB3A-830A-F5C9-0C58D332F14D}"/>
              </a:ext>
            </a:extLst>
          </p:cNvPr>
          <p:cNvSpPr txBox="1"/>
          <p:nvPr/>
        </p:nvSpPr>
        <p:spPr>
          <a:xfrm>
            <a:off x="8341642" y="2936165"/>
            <a:ext cx="37029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chemeClr val="bg2"/>
                </a:solidFill>
              </a:rPr>
              <a:t>RSA</a:t>
            </a:r>
          </a:p>
        </p:txBody>
      </p:sp>
      <p:sp>
        <p:nvSpPr>
          <p:cNvPr id="314" name="Oval 4">
            <a:extLst>
              <a:ext uri="{FF2B5EF4-FFF2-40B4-BE49-F238E27FC236}">
                <a16:creationId xmlns:a16="http://schemas.microsoft.com/office/drawing/2014/main" id="{22ED1608-4277-15C4-5471-425376E88C3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0644" y="5756099"/>
            <a:ext cx="5385353" cy="658351"/>
          </a:xfrm>
          <a:prstGeom prst="homePlate">
            <a:avLst/>
          </a:prstGeom>
          <a:solidFill>
            <a:srgbClr val="333353"/>
          </a:solidFill>
          <a:ln>
            <a:noFill/>
          </a:ln>
          <a:effectLst/>
        </p:spPr>
        <p:txBody>
          <a:bodyPr wrap="none" lIns="84337" tIns="42169" rIns="84337" bIns="42169" anchor="ctr"/>
          <a:lstStyle/>
          <a:p>
            <a:pPr algn="dist"/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ecret at D should not reach port E without encryption</a:t>
            </a:r>
          </a:p>
        </p:txBody>
      </p:sp>
      <p:sp>
        <p:nvSpPr>
          <p:cNvPr id="315" name="Oval 4">
            <a:extLst>
              <a:ext uri="{FF2B5EF4-FFF2-40B4-BE49-F238E27FC236}">
                <a16:creationId xmlns:a16="http://schemas.microsoft.com/office/drawing/2014/main" id="{395BD9C3-F0D7-89D8-360E-96E1A184AD5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77236" y="5312039"/>
            <a:ext cx="2689389" cy="547200"/>
          </a:xfrm>
          <a:prstGeom prst="homePlate">
            <a:avLst/>
          </a:prstGeom>
          <a:solidFill>
            <a:srgbClr val="00FFB9"/>
          </a:solidFill>
          <a:ln>
            <a:noFill/>
          </a:ln>
          <a:effectLst/>
        </p:spPr>
        <p:txBody>
          <a:bodyPr wrap="none" lIns="84337" tIns="42169" rIns="84337" bIns="42169" anchor="ctr"/>
          <a:lstStyle/>
          <a:p>
            <a:pPr defTabSz="702911">
              <a:spcBef>
                <a:spcPct val="0"/>
              </a:spcBef>
            </a:pPr>
            <a:r>
              <a:rPr lang="en-US" sz="1799" b="1" dirty="0">
                <a:solidFill>
                  <a:schemeClr val="bg2"/>
                </a:solidFill>
              </a:rPr>
              <a:t>Data inversion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D2ACC8B9-7855-8EF8-6A79-86982525E850}"/>
              </a:ext>
            </a:extLst>
          </p:cNvPr>
          <p:cNvSpPr/>
          <p:nvPr/>
        </p:nvSpPr>
        <p:spPr>
          <a:xfrm>
            <a:off x="7340045" y="4135575"/>
            <a:ext cx="684448" cy="643627"/>
          </a:xfrm>
          <a:prstGeom prst="roundRect">
            <a:avLst/>
          </a:prstGeom>
          <a:solidFill>
            <a:srgbClr val="999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9914672-8F79-A5CF-31D0-B45A7D65D883}"/>
              </a:ext>
            </a:extLst>
          </p:cNvPr>
          <p:cNvGrpSpPr/>
          <p:nvPr/>
        </p:nvGrpSpPr>
        <p:grpSpPr>
          <a:xfrm>
            <a:off x="7366509" y="4209215"/>
            <a:ext cx="636030" cy="496346"/>
            <a:chOff x="4186001" y="3255872"/>
            <a:chExt cx="636030" cy="496346"/>
          </a:xfrm>
        </p:grpSpPr>
        <p:sp>
          <p:nvSpPr>
            <p:cNvPr id="9" name="Cloud 8">
              <a:extLst>
                <a:ext uri="{FF2B5EF4-FFF2-40B4-BE49-F238E27FC236}">
                  <a16:creationId xmlns:a16="http://schemas.microsoft.com/office/drawing/2014/main" id="{D6803D60-A5F7-B3D4-C481-C5203199579C}"/>
                </a:ext>
              </a:extLst>
            </p:cNvPr>
            <p:cNvSpPr/>
            <p:nvPr/>
          </p:nvSpPr>
          <p:spPr>
            <a:xfrm>
              <a:off x="4186001" y="3255872"/>
              <a:ext cx="636030" cy="496346"/>
            </a:xfrm>
            <a:prstGeom prst="cloud">
              <a:avLst/>
            </a:prstGeom>
            <a:solidFill>
              <a:srgbClr val="CCCCD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en-US"/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0C13EA8F-63A1-D1DD-B0CB-F1FB8C879015}"/>
                </a:ext>
              </a:extLst>
            </p:cNvPr>
            <p:cNvGrpSpPr/>
            <p:nvPr/>
          </p:nvGrpSpPr>
          <p:grpSpPr>
            <a:xfrm>
              <a:off x="4245769" y="3370919"/>
              <a:ext cx="485454" cy="287190"/>
              <a:chOff x="4506904" y="3315906"/>
              <a:chExt cx="503033" cy="282473"/>
            </a:xfrm>
          </p:grpSpPr>
          <p:sp>
            <p:nvSpPr>
              <p:cNvPr id="11" name="Flowchart: Stored Data 10">
                <a:extLst>
                  <a:ext uri="{FF2B5EF4-FFF2-40B4-BE49-F238E27FC236}">
                    <a16:creationId xmlns:a16="http://schemas.microsoft.com/office/drawing/2014/main" id="{24476D41-CF41-8822-289C-B2E49A460867}"/>
                  </a:ext>
                </a:extLst>
              </p:cNvPr>
              <p:cNvSpPr/>
              <p:nvPr/>
            </p:nvSpPr>
            <p:spPr>
              <a:xfrm flipH="1">
                <a:off x="4895465" y="3462460"/>
                <a:ext cx="114472" cy="108250"/>
              </a:xfrm>
              <a:prstGeom prst="flowChartOnlineStorage">
                <a:avLst/>
              </a:prstGeom>
              <a:solidFill>
                <a:srgbClr val="666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 anchorCtr="0"/>
              <a:lstStyle/>
              <a:p>
                <a:pPr algn="l"/>
                <a:endParaRPr lang="en-US"/>
              </a:p>
            </p:txBody>
          </p:sp>
          <p:sp>
            <p:nvSpPr>
              <p:cNvPr id="12" name="Flowchart: Delay 11">
                <a:extLst>
                  <a:ext uri="{FF2B5EF4-FFF2-40B4-BE49-F238E27FC236}">
                    <a16:creationId xmlns:a16="http://schemas.microsoft.com/office/drawing/2014/main" id="{8BAB6716-5164-871B-AFAC-BFAFDC4CD409}"/>
                  </a:ext>
                </a:extLst>
              </p:cNvPr>
              <p:cNvSpPr/>
              <p:nvPr/>
            </p:nvSpPr>
            <p:spPr>
              <a:xfrm>
                <a:off x="4902395" y="3317746"/>
                <a:ext cx="107541" cy="108250"/>
              </a:xfrm>
              <a:prstGeom prst="flowChartDelay">
                <a:avLst/>
              </a:prstGeom>
              <a:solidFill>
                <a:srgbClr val="666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 anchorCtr="0"/>
              <a:lstStyle/>
              <a:p>
                <a:pPr algn="l"/>
                <a:endParaRPr lang="en-US"/>
              </a:p>
            </p:txBody>
          </p:sp>
          <p:sp>
            <p:nvSpPr>
              <p:cNvPr id="13" name="Flowchart: Extract 12">
                <a:extLst>
                  <a:ext uri="{FF2B5EF4-FFF2-40B4-BE49-F238E27FC236}">
                    <a16:creationId xmlns:a16="http://schemas.microsoft.com/office/drawing/2014/main" id="{0C434CAC-218B-6D7C-8250-C716C0D8CD01}"/>
                  </a:ext>
                </a:extLst>
              </p:cNvPr>
              <p:cNvSpPr/>
              <p:nvPr/>
            </p:nvSpPr>
            <p:spPr>
              <a:xfrm rot="5400000">
                <a:off x="4656433" y="3497298"/>
                <a:ext cx="104224" cy="97938"/>
              </a:xfrm>
              <a:prstGeom prst="flowChartExtract">
                <a:avLst/>
              </a:prstGeom>
              <a:solidFill>
                <a:srgbClr val="666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 anchorCtr="0"/>
              <a:lstStyle/>
              <a:p>
                <a:pPr algn="l"/>
                <a:endParaRPr lang="en-US"/>
              </a:p>
            </p:txBody>
          </p:sp>
          <p:cxnSp>
            <p:nvCxnSpPr>
              <p:cNvPr id="14" name="Straight Arrow Connector 13">
                <a:extLst>
                  <a:ext uri="{FF2B5EF4-FFF2-40B4-BE49-F238E27FC236}">
                    <a16:creationId xmlns:a16="http://schemas.microsoft.com/office/drawing/2014/main" id="{1015A4AC-ECB9-384E-A7CD-167812856D9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06904" y="3547603"/>
                <a:ext cx="152672" cy="0"/>
              </a:xfrm>
              <a:prstGeom prst="straightConnector1">
                <a:avLst/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Arrow Connector 14">
                <a:extLst>
                  <a:ext uri="{FF2B5EF4-FFF2-40B4-BE49-F238E27FC236}">
                    <a16:creationId xmlns:a16="http://schemas.microsoft.com/office/drawing/2014/main" id="{D1173FBB-D792-80A5-A301-A5BB4E00DED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731953" y="3346131"/>
                <a:ext cx="168988" cy="501"/>
              </a:xfrm>
              <a:prstGeom prst="straightConnector1">
                <a:avLst/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Arrow Connector 15">
                <a:extLst>
                  <a:ext uri="{FF2B5EF4-FFF2-40B4-BE49-F238E27FC236}">
                    <a16:creationId xmlns:a16="http://schemas.microsoft.com/office/drawing/2014/main" id="{CB500A1E-A29F-1ACF-56C3-14B8C968ACF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757514" y="3547603"/>
                <a:ext cx="151912" cy="0"/>
              </a:xfrm>
              <a:prstGeom prst="straightConnector1">
                <a:avLst/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Arrow Connector 16">
                <a:extLst>
                  <a:ext uri="{FF2B5EF4-FFF2-40B4-BE49-F238E27FC236}">
                    <a16:creationId xmlns:a16="http://schemas.microsoft.com/office/drawing/2014/main" id="{FFB04F47-B830-5114-3499-B089BED5F6C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21660" y="3362397"/>
                <a:ext cx="152672" cy="0"/>
              </a:xfrm>
              <a:prstGeom prst="straightConnector1">
                <a:avLst/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Connector: Elbow 17">
                <a:extLst>
                  <a:ext uri="{FF2B5EF4-FFF2-40B4-BE49-F238E27FC236}">
                    <a16:creationId xmlns:a16="http://schemas.microsoft.com/office/drawing/2014/main" id="{7BF1FEC2-732A-0C30-69F2-DECA07BFAE0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06904" y="3446061"/>
                <a:ext cx="398116" cy="39571"/>
              </a:xfrm>
              <a:prstGeom prst="bentConnector3">
                <a:avLst>
                  <a:gd name="adj1" fmla="val 50000"/>
                </a:avLst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Connector: Elbow 18">
                <a:extLst>
                  <a:ext uri="{FF2B5EF4-FFF2-40B4-BE49-F238E27FC236}">
                    <a16:creationId xmlns:a16="http://schemas.microsoft.com/office/drawing/2014/main" id="{ABA895A8-C804-5459-3DA2-C99B61C8071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519192" y="3405210"/>
                <a:ext cx="373805" cy="39571"/>
              </a:xfrm>
              <a:prstGeom prst="bentConnector3">
                <a:avLst>
                  <a:gd name="adj1" fmla="val 69111"/>
                </a:avLst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169C8CFB-F2B3-1970-C0A7-F4D822733FE5}"/>
                  </a:ext>
                </a:extLst>
              </p:cNvPr>
              <p:cNvGrpSpPr/>
              <p:nvPr/>
            </p:nvGrpSpPr>
            <p:grpSpPr>
              <a:xfrm>
                <a:off x="4674332" y="3315906"/>
                <a:ext cx="76669" cy="90024"/>
                <a:chOff x="4089313" y="3970630"/>
                <a:chExt cx="723484" cy="405704"/>
              </a:xfrm>
            </p:grpSpPr>
            <p:sp>
              <p:nvSpPr>
                <p:cNvPr id="21" name="Rectangle: Rounded Corners 20">
                  <a:extLst>
                    <a:ext uri="{FF2B5EF4-FFF2-40B4-BE49-F238E27FC236}">
                      <a16:creationId xmlns:a16="http://schemas.microsoft.com/office/drawing/2014/main" id="{98C6B357-62E4-6748-4430-B70A865EA37C}"/>
                    </a:ext>
                  </a:extLst>
                </p:cNvPr>
                <p:cNvSpPr/>
                <p:nvPr/>
              </p:nvSpPr>
              <p:spPr>
                <a:xfrm>
                  <a:off x="4089313" y="3970630"/>
                  <a:ext cx="723484" cy="405704"/>
                </a:xfrm>
                <a:prstGeom prst="roundRect">
                  <a:avLst>
                    <a:gd name="adj" fmla="val 0"/>
                  </a:avLst>
                </a:prstGeom>
                <a:solidFill>
                  <a:srgbClr val="6666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00" b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2" name="Isosceles Triangle 21">
                  <a:extLst>
                    <a:ext uri="{FF2B5EF4-FFF2-40B4-BE49-F238E27FC236}">
                      <a16:creationId xmlns:a16="http://schemas.microsoft.com/office/drawing/2014/main" id="{30CAA75C-392F-E97F-2E76-945516F39539}"/>
                    </a:ext>
                  </a:extLst>
                </p:cNvPr>
                <p:cNvSpPr/>
                <p:nvPr/>
              </p:nvSpPr>
              <p:spPr>
                <a:xfrm rot="5400000">
                  <a:off x="4069857" y="4203956"/>
                  <a:ext cx="191310" cy="125845"/>
                </a:xfrm>
                <a:prstGeom prst="triangle">
                  <a:avLst/>
                </a:prstGeom>
                <a:solidFill>
                  <a:srgbClr val="50007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72000" rIns="108000" bIns="72000" rtlCol="0" anchor="t" anchorCtr="0"/>
                <a:lstStyle/>
                <a:p>
                  <a:pPr algn="l"/>
                  <a:endParaRPr lang="en-US"/>
                </a:p>
              </p:txBody>
            </p:sp>
          </p:grpSp>
        </p:grpSp>
      </p:grp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20F56F8B-0F35-580C-72F8-E26AF435116E}"/>
              </a:ext>
            </a:extLst>
          </p:cNvPr>
          <p:cNvSpPr/>
          <p:nvPr/>
        </p:nvSpPr>
        <p:spPr>
          <a:xfrm>
            <a:off x="9583192" y="4107276"/>
            <a:ext cx="684448" cy="643627"/>
          </a:xfrm>
          <a:prstGeom prst="roundRect">
            <a:avLst/>
          </a:prstGeom>
          <a:solidFill>
            <a:srgbClr val="999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A03A62E1-5838-1481-9221-C46438D4B136}"/>
              </a:ext>
            </a:extLst>
          </p:cNvPr>
          <p:cNvGrpSpPr/>
          <p:nvPr/>
        </p:nvGrpSpPr>
        <p:grpSpPr>
          <a:xfrm>
            <a:off x="9609656" y="4180916"/>
            <a:ext cx="636030" cy="496346"/>
            <a:chOff x="4186001" y="3255872"/>
            <a:chExt cx="636030" cy="496346"/>
          </a:xfrm>
        </p:grpSpPr>
        <p:sp>
          <p:nvSpPr>
            <p:cNvPr id="25" name="Cloud 24">
              <a:extLst>
                <a:ext uri="{FF2B5EF4-FFF2-40B4-BE49-F238E27FC236}">
                  <a16:creationId xmlns:a16="http://schemas.microsoft.com/office/drawing/2014/main" id="{0A861B7F-F00D-234E-B135-D0A462E53527}"/>
                </a:ext>
              </a:extLst>
            </p:cNvPr>
            <p:cNvSpPr/>
            <p:nvPr/>
          </p:nvSpPr>
          <p:spPr>
            <a:xfrm>
              <a:off x="4186001" y="3255872"/>
              <a:ext cx="636030" cy="496346"/>
            </a:xfrm>
            <a:prstGeom prst="cloud">
              <a:avLst/>
            </a:prstGeom>
            <a:solidFill>
              <a:srgbClr val="CCCCD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en-US"/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301B94E8-48CF-7F5E-3883-58B7A324F102}"/>
                </a:ext>
              </a:extLst>
            </p:cNvPr>
            <p:cNvGrpSpPr/>
            <p:nvPr/>
          </p:nvGrpSpPr>
          <p:grpSpPr>
            <a:xfrm>
              <a:off x="4245769" y="3370919"/>
              <a:ext cx="485454" cy="287190"/>
              <a:chOff x="4506904" y="3315906"/>
              <a:chExt cx="503033" cy="282473"/>
            </a:xfrm>
          </p:grpSpPr>
          <p:sp>
            <p:nvSpPr>
              <p:cNvPr id="27" name="Flowchart: Stored Data 26">
                <a:extLst>
                  <a:ext uri="{FF2B5EF4-FFF2-40B4-BE49-F238E27FC236}">
                    <a16:creationId xmlns:a16="http://schemas.microsoft.com/office/drawing/2014/main" id="{A527611B-F053-988E-382C-96A6CB89B440}"/>
                  </a:ext>
                </a:extLst>
              </p:cNvPr>
              <p:cNvSpPr/>
              <p:nvPr/>
            </p:nvSpPr>
            <p:spPr>
              <a:xfrm flipH="1">
                <a:off x="4895465" y="3462460"/>
                <a:ext cx="114472" cy="108250"/>
              </a:xfrm>
              <a:prstGeom prst="flowChartOnlineStorage">
                <a:avLst/>
              </a:prstGeom>
              <a:solidFill>
                <a:srgbClr val="666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 anchorCtr="0"/>
              <a:lstStyle/>
              <a:p>
                <a:pPr algn="l"/>
                <a:endParaRPr lang="en-US"/>
              </a:p>
            </p:txBody>
          </p:sp>
          <p:sp>
            <p:nvSpPr>
              <p:cNvPr id="28" name="Flowchart: Delay 27">
                <a:extLst>
                  <a:ext uri="{FF2B5EF4-FFF2-40B4-BE49-F238E27FC236}">
                    <a16:creationId xmlns:a16="http://schemas.microsoft.com/office/drawing/2014/main" id="{A5E5675D-384A-6584-7FA5-079BECCC23C8}"/>
                  </a:ext>
                </a:extLst>
              </p:cNvPr>
              <p:cNvSpPr/>
              <p:nvPr/>
            </p:nvSpPr>
            <p:spPr>
              <a:xfrm>
                <a:off x="4902395" y="3317746"/>
                <a:ext cx="107541" cy="108250"/>
              </a:xfrm>
              <a:prstGeom prst="flowChartDelay">
                <a:avLst/>
              </a:prstGeom>
              <a:solidFill>
                <a:srgbClr val="666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 anchorCtr="0"/>
              <a:lstStyle/>
              <a:p>
                <a:pPr algn="l"/>
                <a:endParaRPr lang="en-US"/>
              </a:p>
            </p:txBody>
          </p:sp>
          <p:sp>
            <p:nvSpPr>
              <p:cNvPr id="29" name="Flowchart: Extract 28">
                <a:extLst>
                  <a:ext uri="{FF2B5EF4-FFF2-40B4-BE49-F238E27FC236}">
                    <a16:creationId xmlns:a16="http://schemas.microsoft.com/office/drawing/2014/main" id="{33B0BD1F-CFCD-3F0B-4C76-A4C95CAD666A}"/>
                  </a:ext>
                </a:extLst>
              </p:cNvPr>
              <p:cNvSpPr/>
              <p:nvPr/>
            </p:nvSpPr>
            <p:spPr>
              <a:xfrm rot="5400000">
                <a:off x="4656433" y="3497298"/>
                <a:ext cx="104224" cy="97938"/>
              </a:xfrm>
              <a:prstGeom prst="flowChartExtract">
                <a:avLst/>
              </a:prstGeom>
              <a:solidFill>
                <a:srgbClr val="666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 anchorCtr="0"/>
              <a:lstStyle/>
              <a:p>
                <a:pPr algn="l"/>
                <a:endParaRPr lang="en-US"/>
              </a:p>
            </p:txBody>
          </p:sp>
          <p:cxnSp>
            <p:nvCxnSpPr>
              <p:cNvPr id="30" name="Straight Arrow Connector 29">
                <a:extLst>
                  <a:ext uri="{FF2B5EF4-FFF2-40B4-BE49-F238E27FC236}">
                    <a16:creationId xmlns:a16="http://schemas.microsoft.com/office/drawing/2014/main" id="{549B45DA-0D31-049C-C133-A877189CA9D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06904" y="3547603"/>
                <a:ext cx="152672" cy="0"/>
              </a:xfrm>
              <a:prstGeom prst="straightConnector1">
                <a:avLst/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Arrow Connector 30">
                <a:extLst>
                  <a:ext uri="{FF2B5EF4-FFF2-40B4-BE49-F238E27FC236}">
                    <a16:creationId xmlns:a16="http://schemas.microsoft.com/office/drawing/2014/main" id="{92EF207D-FD8B-89ED-715F-94CB469C56A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731953" y="3346131"/>
                <a:ext cx="168988" cy="501"/>
              </a:xfrm>
              <a:prstGeom prst="straightConnector1">
                <a:avLst/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6" name="Straight Arrow Connector 255">
                <a:extLst>
                  <a:ext uri="{FF2B5EF4-FFF2-40B4-BE49-F238E27FC236}">
                    <a16:creationId xmlns:a16="http://schemas.microsoft.com/office/drawing/2014/main" id="{41EC1D2D-42BC-FFD7-2584-36E0593C736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757514" y="3547603"/>
                <a:ext cx="151912" cy="0"/>
              </a:xfrm>
              <a:prstGeom prst="straightConnector1">
                <a:avLst/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7" name="Straight Arrow Connector 256">
                <a:extLst>
                  <a:ext uri="{FF2B5EF4-FFF2-40B4-BE49-F238E27FC236}">
                    <a16:creationId xmlns:a16="http://schemas.microsoft.com/office/drawing/2014/main" id="{F88A99BC-50E9-4B4E-E2BD-1335F7DBFEC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21660" y="3362397"/>
                <a:ext cx="152672" cy="0"/>
              </a:xfrm>
              <a:prstGeom prst="straightConnector1">
                <a:avLst/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8" name="Connector: Elbow 257">
                <a:extLst>
                  <a:ext uri="{FF2B5EF4-FFF2-40B4-BE49-F238E27FC236}">
                    <a16:creationId xmlns:a16="http://schemas.microsoft.com/office/drawing/2014/main" id="{0FB60C1F-C46D-4292-045C-43AB03975F7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06904" y="3446061"/>
                <a:ext cx="398116" cy="39571"/>
              </a:xfrm>
              <a:prstGeom prst="bentConnector3">
                <a:avLst>
                  <a:gd name="adj1" fmla="val 50000"/>
                </a:avLst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9" name="Connector: Elbow 258">
                <a:extLst>
                  <a:ext uri="{FF2B5EF4-FFF2-40B4-BE49-F238E27FC236}">
                    <a16:creationId xmlns:a16="http://schemas.microsoft.com/office/drawing/2014/main" id="{186AD104-B803-7719-9D62-092B286B761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519192" y="3405210"/>
                <a:ext cx="373805" cy="39571"/>
              </a:xfrm>
              <a:prstGeom prst="bentConnector3">
                <a:avLst>
                  <a:gd name="adj1" fmla="val 69111"/>
                </a:avLst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60" name="Group 259">
                <a:extLst>
                  <a:ext uri="{FF2B5EF4-FFF2-40B4-BE49-F238E27FC236}">
                    <a16:creationId xmlns:a16="http://schemas.microsoft.com/office/drawing/2014/main" id="{181666A9-DA1B-2CE7-2C1B-544D73FA4C50}"/>
                  </a:ext>
                </a:extLst>
              </p:cNvPr>
              <p:cNvGrpSpPr/>
              <p:nvPr/>
            </p:nvGrpSpPr>
            <p:grpSpPr>
              <a:xfrm>
                <a:off x="4674332" y="3315906"/>
                <a:ext cx="76669" cy="90024"/>
                <a:chOff x="4089313" y="3970630"/>
                <a:chExt cx="723484" cy="405704"/>
              </a:xfrm>
            </p:grpSpPr>
            <p:sp>
              <p:nvSpPr>
                <p:cNvPr id="261" name="Rectangle: Rounded Corners 260">
                  <a:extLst>
                    <a:ext uri="{FF2B5EF4-FFF2-40B4-BE49-F238E27FC236}">
                      <a16:creationId xmlns:a16="http://schemas.microsoft.com/office/drawing/2014/main" id="{DBD681ED-FA0D-3F7C-439A-ACA0A8A99534}"/>
                    </a:ext>
                  </a:extLst>
                </p:cNvPr>
                <p:cNvSpPr/>
                <p:nvPr/>
              </p:nvSpPr>
              <p:spPr>
                <a:xfrm>
                  <a:off x="4089313" y="3970630"/>
                  <a:ext cx="723484" cy="405704"/>
                </a:xfrm>
                <a:prstGeom prst="roundRect">
                  <a:avLst>
                    <a:gd name="adj" fmla="val 0"/>
                  </a:avLst>
                </a:prstGeom>
                <a:solidFill>
                  <a:srgbClr val="6666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00" b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62" name="Isosceles Triangle 261">
                  <a:extLst>
                    <a:ext uri="{FF2B5EF4-FFF2-40B4-BE49-F238E27FC236}">
                      <a16:creationId xmlns:a16="http://schemas.microsoft.com/office/drawing/2014/main" id="{FAB01118-B43E-F3E3-21C9-6A7A86676B29}"/>
                    </a:ext>
                  </a:extLst>
                </p:cNvPr>
                <p:cNvSpPr/>
                <p:nvPr/>
              </p:nvSpPr>
              <p:spPr>
                <a:xfrm rot="5400000">
                  <a:off x="4069857" y="4203956"/>
                  <a:ext cx="191310" cy="125845"/>
                </a:xfrm>
                <a:prstGeom prst="triangle">
                  <a:avLst/>
                </a:prstGeom>
                <a:solidFill>
                  <a:srgbClr val="50007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72000" rIns="108000" bIns="72000" rtlCol="0" anchor="t" anchorCtr="0"/>
                <a:lstStyle/>
                <a:p>
                  <a:pPr algn="l"/>
                  <a:endParaRPr lang="en-US"/>
                </a:p>
              </p:txBody>
            </p:sp>
          </p:grpSp>
        </p:grpSp>
      </p:grpSp>
      <p:cxnSp>
        <p:nvCxnSpPr>
          <p:cNvPr id="264" name="Connector: Elbow 263">
            <a:extLst>
              <a:ext uri="{FF2B5EF4-FFF2-40B4-BE49-F238E27FC236}">
                <a16:creationId xmlns:a16="http://schemas.microsoft.com/office/drawing/2014/main" id="{7B8AFE88-CA57-8894-CBF5-6407395E1307}"/>
              </a:ext>
            </a:extLst>
          </p:cNvPr>
          <p:cNvCxnSpPr>
            <a:cxnSpLocks/>
            <a:stCxn id="9" idx="0"/>
          </p:cNvCxnSpPr>
          <p:nvPr/>
        </p:nvCxnSpPr>
        <p:spPr>
          <a:xfrm flipV="1">
            <a:off x="8002009" y="4180916"/>
            <a:ext cx="2926420" cy="276472"/>
          </a:xfrm>
          <a:prstGeom prst="bentConnector3">
            <a:avLst>
              <a:gd name="adj1" fmla="val 50000"/>
            </a:avLst>
          </a:prstGeom>
          <a:ln w="50800" cmpd="dbl">
            <a:solidFill>
              <a:srgbClr val="FF0000"/>
            </a:solidFill>
            <a:prstDash val="sysDash"/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TextBox 269">
            <a:extLst>
              <a:ext uri="{FF2B5EF4-FFF2-40B4-BE49-F238E27FC236}">
                <a16:creationId xmlns:a16="http://schemas.microsoft.com/office/drawing/2014/main" id="{7FD4F35F-376B-F7D3-B95B-C877C3A51FBA}"/>
              </a:ext>
            </a:extLst>
          </p:cNvPr>
          <p:cNvSpPr txBox="1"/>
          <p:nvPr/>
        </p:nvSpPr>
        <p:spPr>
          <a:xfrm>
            <a:off x="7438137" y="5576572"/>
            <a:ext cx="4182364" cy="553998"/>
          </a:xfrm>
          <a:prstGeom prst="rect">
            <a:avLst/>
          </a:prstGeom>
          <a:solidFill>
            <a:schemeClr val="tx1">
              <a:lumMod val="75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>
                <a:solidFill>
                  <a:srgbClr val="333353"/>
                </a:solidFill>
              </a:rPr>
              <a:t>do these paths exist, which violate the security datapath requirements?</a:t>
            </a:r>
          </a:p>
        </p:txBody>
      </p:sp>
      <p:sp>
        <p:nvSpPr>
          <p:cNvPr id="263" name="Rectangle: Rounded Corners 262">
            <a:extLst>
              <a:ext uri="{FF2B5EF4-FFF2-40B4-BE49-F238E27FC236}">
                <a16:creationId xmlns:a16="http://schemas.microsoft.com/office/drawing/2014/main" id="{68FAFDA6-4C5B-78E6-51A8-31A3F41854CB}"/>
              </a:ext>
            </a:extLst>
          </p:cNvPr>
          <p:cNvSpPr/>
          <p:nvPr/>
        </p:nvSpPr>
        <p:spPr>
          <a:xfrm>
            <a:off x="7761349" y="4305973"/>
            <a:ext cx="264855" cy="313886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A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265" name="Rectangle: Rounded Corners 264">
            <a:extLst>
              <a:ext uri="{FF2B5EF4-FFF2-40B4-BE49-F238E27FC236}">
                <a16:creationId xmlns:a16="http://schemas.microsoft.com/office/drawing/2014/main" id="{4A30F30B-398C-5E78-649C-0A786A8254FF}"/>
              </a:ext>
            </a:extLst>
          </p:cNvPr>
          <p:cNvSpPr/>
          <p:nvPr/>
        </p:nvSpPr>
        <p:spPr>
          <a:xfrm>
            <a:off x="10918590" y="4023973"/>
            <a:ext cx="264855" cy="313886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B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66" name="Rectangle: Rounded Corners 265">
            <a:extLst>
              <a:ext uri="{FF2B5EF4-FFF2-40B4-BE49-F238E27FC236}">
                <a16:creationId xmlns:a16="http://schemas.microsoft.com/office/drawing/2014/main" id="{EADA08D4-825F-9641-1757-E017873A369E}"/>
              </a:ext>
            </a:extLst>
          </p:cNvPr>
          <p:cNvSpPr/>
          <p:nvPr/>
        </p:nvSpPr>
        <p:spPr>
          <a:xfrm>
            <a:off x="7115713" y="4369516"/>
            <a:ext cx="264855" cy="313886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CA</a:t>
            </a:r>
            <a:endParaRPr lang="en-US" sz="2800" dirty="0">
              <a:solidFill>
                <a:schemeClr val="tx1"/>
              </a:solidFill>
            </a:endParaRPr>
          </a:p>
        </p:txBody>
      </p:sp>
      <p:cxnSp>
        <p:nvCxnSpPr>
          <p:cNvPr id="269" name="Connector: Elbow 268">
            <a:extLst>
              <a:ext uri="{FF2B5EF4-FFF2-40B4-BE49-F238E27FC236}">
                <a16:creationId xmlns:a16="http://schemas.microsoft.com/office/drawing/2014/main" id="{A21DBA19-E3D6-75DB-33B9-BBF0ABA1BC46}"/>
              </a:ext>
            </a:extLst>
          </p:cNvPr>
          <p:cNvCxnSpPr>
            <a:cxnSpLocks/>
            <a:stCxn id="266" idx="3"/>
            <a:endCxn id="263" idx="1"/>
          </p:cNvCxnSpPr>
          <p:nvPr/>
        </p:nvCxnSpPr>
        <p:spPr>
          <a:xfrm flipV="1">
            <a:off x="7380568" y="4462916"/>
            <a:ext cx="380781" cy="63543"/>
          </a:xfrm>
          <a:prstGeom prst="bentConnector3">
            <a:avLst>
              <a:gd name="adj1" fmla="val 50000"/>
            </a:avLst>
          </a:prstGeom>
          <a:ln w="50800" cmpd="dbl">
            <a:solidFill>
              <a:srgbClr val="FF0000"/>
            </a:solidFill>
            <a:prstDash val="sysDash"/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Straight Arrow Connector 274">
            <a:extLst>
              <a:ext uri="{FF2B5EF4-FFF2-40B4-BE49-F238E27FC236}">
                <a16:creationId xmlns:a16="http://schemas.microsoft.com/office/drawing/2014/main" id="{4AFDE31C-0CFB-35C9-FA3B-C339308396B9}"/>
              </a:ext>
            </a:extLst>
          </p:cNvPr>
          <p:cNvCxnSpPr>
            <a:cxnSpLocks/>
            <a:stCxn id="270" idx="0"/>
          </p:cNvCxnSpPr>
          <p:nvPr/>
        </p:nvCxnSpPr>
        <p:spPr>
          <a:xfrm flipH="1" flipV="1">
            <a:off x="7618378" y="4590401"/>
            <a:ext cx="1910941" cy="986171"/>
          </a:xfrm>
          <a:prstGeom prst="straightConnector1">
            <a:avLst/>
          </a:prstGeom>
          <a:ln w="9525">
            <a:solidFill>
              <a:srgbClr val="FF0000"/>
            </a:soli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7" name="Straight Arrow Connector 316">
            <a:extLst>
              <a:ext uri="{FF2B5EF4-FFF2-40B4-BE49-F238E27FC236}">
                <a16:creationId xmlns:a16="http://schemas.microsoft.com/office/drawing/2014/main" id="{1C09AC2D-209D-BFC6-E159-8DCF4C24F320}"/>
              </a:ext>
            </a:extLst>
          </p:cNvPr>
          <p:cNvCxnSpPr>
            <a:cxnSpLocks/>
            <a:stCxn id="270" idx="0"/>
          </p:cNvCxnSpPr>
          <p:nvPr/>
        </p:nvCxnSpPr>
        <p:spPr>
          <a:xfrm flipH="1" flipV="1">
            <a:off x="9347265" y="4455289"/>
            <a:ext cx="182054" cy="1121283"/>
          </a:xfrm>
          <a:prstGeom prst="straightConnector1">
            <a:avLst/>
          </a:prstGeom>
          <a:ln w="9525">
            <a:solidFill>
              <a:srgbClr val="FF0000"/>
            </a:soli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Arrow Connector 95">
            <a:extLst>
              <a:ext uri="{FF2B5EF4-FFF2-40B4-BE49-F238E27FC236}">
                <a16:creationId xmlns:a16="http://schemas.microsoft.com/office/drawing/2014/main" id="{5CCCE384-B0E9-571B-5066-DA9869C0D4AC}"/>
              </a:ext>
            </a:extLst>
          </p:cNvPr>
          <p:cNvCxnSpPr>
            <a:cxnSpLocks/>
            <a:stCxn id="270" idx="0"/>
          </p:cNvCxnSpPr>
          <p:nvPr/>
        </p:nvCxnSpPr>
        <p:spPr>
          <a:xfrm flipV="1">
            <a:off x="9529319" y="3871427"/>
            <a:ext cx="767480" cy="1705145"/>
          </a:xfrm>
          <a:prstGeom prst="straightConnector1">
            <a:avLst/>
          </a:prstGeom>
          <a:ln w="9525">
            <a:solidFill>
              <a:srgbClr val="FF0000"/>
            </a:soli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17191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FDC814-8F03-898A-B6E0-24DBD939DD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Importance of Hardware Security</a:t>
            </a:r>
            <a:br>
              <a:rPr lang="en-US" sz="2800" dirty="0"/>
            </a:br>
            <a:r>
              <a:rPr lang="en-US" b="0" dirty="0"/>
              <a:t>Crucial to thoroughly verify hardware security features</a:t>
            </a:r>
            <a:endParaRPr lang="en-US" sz="2800" b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3137ACF-6F15-4C54-D3E8-344256478EB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Confidential | © Siemens 2024 | Siemens Digital Industries Software</a:t>
            </a:r>
          </a:p>
        </p:txBody>
      </p:sp>
      <p:sp>
        <p:nvSpPr>
          <p:cNvPr id="26" name="Freeform 25">
            <a:extLst>
              <a:ext uri="{FF2B5EF4-FFF2-40B4-BE49-F238E27FC236}">
                <a16:creationId xmlns:a16="http://schemas.microsoft.com/office/drawing/2014/main" id="{0AAE61BE-CEDA-0631-3C1C-2DD5507C4C02}"/>
              </a:ext>
            </a:extLst>
          </p:cNvPr>
          <p:cNvSpPr>
            <a:spLocks noChangeAspect="1"/>
          </p:cNvSpPr>
          <p:nvPr/>
        </p:nvSpPr>
        <p:spPr bwMode="gray">
          <a:xfrm flipH="1">
            <a:off x="9740107" y="2422762"/>
            <a:ext cx="1397963" cy="1066830"/>
          </a:xfrm>
          <a:custGeom>
            <a:avLst/>
            <a:gdLst>
              <a:gd name="connsiteX0" fmla="*/ 0 w 1398691"/>
              <a:gd name="connsiteY0" fmla="*/ 0 h 1067386"/>
              <a:gd name="connsiteX1" fmla="*/ 759129 w 1398691"/>
              <a:gd name="connsiteY1" fmla="*/ 0 h 1067386"/>
              <a:gd name="connsiteX2" fmla="*/ 1398691 w 1398691"/>
              <a:gd name="connsiteY2" fmla="*/ 1067386 h 1067386"/>
              <a:gd name="connsiteX3" fmla="*/ 0 w 1398691"/>
              <a:gd name="connsiteY3" fmla="*/ 1067386 h 1067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98691" h="1067386">
                <a:moveTo>
                  <a:pt x="0" y="0"/>
                </a:moveTo>
                <a:lnTo>
                  <a:pt x="759129" y="0"/>
                </a:lnTo>
                <a:lnTo>
                  <a:pt x="1398691" y="1067386"/>
                </a:lnTo>
                <a:lnTo>
                  <a:pt x="0" y="106738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>
            <a:noAutofit/>
          </a:bodyPr>
          <a:lstStyle/>
          <a:p>
            <a:endParaRPr lang="en-US" sz="1799"/>
          </a:p>
        </p:txBody>
      </p:sp>
      <p:sp>
        <p:nvSpPr>
          <p:cNvPr id="27" name="Freeform 33">
            <a:extLst>
              <a:ext uri="{FF2B5EF4-FFF2-40B4-BE49-F238E27FC236}">
                <a16:creationId xmlns:a16="http://schemas.microsoft.com/office/drawing/2014/main" id="{37E89063-883D-6357-A5D1-A84FFA00927A}"/>
              </a:ext>
            </a:extLst>
          </p:cNvPr>
          <p:cNvSpPr>
            <a:spLocks noChangeAspect="1"/>
          </p:cNvSpPr>
          <p:nvPr/>
        </p:nvSpPr>
        <p:spPr bwMode="gray">
          <a:xfrm flipH="1">
            <a:off x="8977278" y="3659745"/>
            <a:ext cx="2160792" cy="1061981"/>
          </a:xfrm>
          <a:custGeom>
            <a:avLst/>
            <a:gdLst>
              <a:gd name="connsiteX0" fmla="*/ 0 w 2161917"/>
              <a:gd name="connsiteY0" fmla="*/ 0 h 1062534"/>
              <a:gd name="connsiteX1" fmla="*/ 1521920 w 2161917"/>
              <a:gd name="connsiteY1" fmla="*/ 0 h 1062534"/>
              <a:gd name="connsiteX2" fmla="*/ 2161917 w 2161917"/>
              <a:gd name="connsiteY2" fmla="*/ 1062534 h 1062534"/>
              <a:gd name="connsiteX3" fmla="*/ 0 w 2161917"/>
              <a:gd name="connsiteY3" fmla="*/ 1062534 h 1062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61917" h="1062534">
                <a:moveTo>
                  <a:pt x="0" y="0"/>
                </a:moveTo>
                <a:lnTo>
                  <a:pt x="1521920" y="0"/>
                </a:lnTo>
                <a:lnTo>
                  <a:pt x="2161917" y="1062534"/>
                </a:lnTo>
                <a:lnTo>
                  <a:pt x="0" y="1062534"/>
                </a:lnTo>
                <a:close/>
              </a:path>
            </a:pathLst>
          </a:custGeom>
          <a:solidFill>
            <a:srgbClr val="00AF8E"/>
          </a:solidFill>
          <a:ln>
            <a:noFill/>
          </a:ln>
        </p:spPr>
        <p:txBody>
          <a:bodyPr wrap="square">
            <a:noAutofit/>
          </a:bodyPr>
          <a:lstStyle/>
          <a:p>
            <a:endParaRPr lang="en-US" sz="1799"/>
          </a:p>
        </p:txBody>
      </p:sp>
      <p:sp>
        <p:nvSpPr>
          <p:cNvPr id="28" name="Freeform 35">
            <a:extLst>
              <a:ext uri="{FF2B5EF4-FFF2-40B4-BE49-F238E27FC236}">
                <a16:creationId xmlns:a16="http://schemas.microsoft.com/office/drawing/2014/main" id="{AA1DA325-284F-1762-18CD-773B2449019C}"/>
              </a:ext>
            </a:extLst>
          </p:cNvPr>
          <p:cNvSpPr>
            <a:spLocks noChangeAspect="1"/>
          </p:cNvSpPr>
          <p:nvPr/>
        </p:nvSpPr>
        <p:spPr bwMode="gray">
          <a:xfrm flipH="1">
            <a:off x="8219044" y="4891881"/>
            <a:ext cx="2919026" cy="1052284"/>
          </a:xfrm>
          <a:custGeom>
            <a:avLst/>
            <a:gdLst>
              <a:gd name="connsiteX0" fmla="*/ 0 w 2920546"/>
              <a:gd name="connsiteY0" fmla="*/ 0 h 1052832"/>
              <a:gd name="connsiteX1" fmla="*/ 2285413 w 2920546"/>
              <a:gd name="connsiteY1" fmla="*/ 0 h 1052832"/>
              <a:gd name="connsiteX2" fmla="*/ 2920546 w 2920546"/>
              <a:gd name="connsiteY2" fmla="*/ 1052832 h 1052832"/>
              <a:gd name="connsiteX3" fmla="*/ 0 w 2920546"/>
              <a:gd name="connsiteY3" fmla="*/ 1052832 h 1052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20546" h="1052832">
                <a:moveTo>
                  <a:pt x="0" y="0"/>
                </a:moveTo>
                <a:lnTo>
                  <a:pt x="2285413" y="0"/>
                </a:lnTo>
                <a:lnTo>
                  <a:pt x="2920546" y="1052832"/>
                </a:lnTo>
                <a:lnTo>
                  <a:pt x="0" y="1052832"/>
                </a:lnTo>
                <a:close/>
              </a:path>
            </a:pathLst>
          </a:custGeom>
          <a:solidFill>
            <a:srgbClr val="00646E"/>
          </a:solidFill>
          <a:ln>
            <a:noFill/>
          </a:ln>
        </p:spPr>
        <p:txBody>
          <a:bodyPr wrap="square">
            <a:noAutofit/>
          </a:bodyPr>
          <a:lstStyle/>
          <a:p>
            <a:endParaRPr lang="en-US" sz="1799">
              <a:solidFill>
                <a:schemeClr val="bg1"/>
              </a:solidFill>
            </a:endParaRPr>
          </a:p>
        </p:txBody>
      </p:sp>
      <p:sp>
        <p:nvSpPr>
          <p:cNvPr id="29" name="Freeform 23">
            <a:extLst>
              <a:ext uri="{FF2B5EF4-FFF2-40B4-BE49-F238E27FC236}">
                <a16:creationId xmlns:a16="http://schemas.microsoft.com/office/drawing/2014/main" id="{5CC852E7-2736-4F3A-4B0A-3B582796AB6D}"/>
              </a:ext>
            </a:extLst>
          </p:cNvPr>
          <p:cNvSpPr>
            <a:spLocks noChangeAspect="1"/>
          </p:cNvSpPr>
          <p:nvPr/>
        </p:nvSpPr>
        <p:spPr bwMode="gray">
          <a:xfrm flipH="1">
            <a:off x="10502938" y="1198800"/>
            <a:ext cx="635132" cy="1053810"/>
          </a:xfrm>
          <a:custGeom>
            <a:avLst/>
            <a:gdLst>
              <a:gd name="connsiteX0" fmla="*/ 0 w 635463"/>
              <a:gd name="connsiteY0" fmla="*/ 0 h 1054359"/>
              <a:gd name="connsiteX1" fmla="*/ 635463 w 635463"/>
              <a:gd name="connsiteY1" fmla="*/ 1054359 h 1054359"/>
              <a:gd name="connsiteX2" fmla="*/ 0 w 635463"/>
              <a:gd name="connsiteY2" fmla="*/ 1054359 h 1054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35463" h="1054359">
                <a:moveTo>
                  <a:pt x="0" y="0"/>
                </a:moveTo>
                <a:lnTo>
                  <a:pt x="635463" y="1054359"/>
                </a:lnTo>
                <a:lnTo>
                  <a:pt x="0" y="1054359"/>
                </a:lnTo>
                <a:close/>
              </a:path>
            </a:pathLst>
          </a:custGeom>
          <a:solidFill>
            <a:srgbClr val="00FFB9"/>
          </a:solidFill>
          <a:ln>
            <a:noFill/>
          </a:ln>
        </p:spPr>
        <p:txBody>
          <a:bodyPr wrap="square">
            <a:noAutofit/>
          </a:bodyPr>
          <a:lstStyle/>
          <a:p>
            <a:endParaRPr lang="en-US" sz="1799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3A46D745-EA03-067B-95B5-BBCD314D80BF}"/>
              </a:ext>
            </a:extLst>
          </p:cNvPr>
          <p:cNvGrpSpPr/>
          <p:nvPr/>
        </p:nvGrpSpPr>
        <p:grpSpPr>
          <a:xfrm>
            <a:off x="7752270" y="2337685"/>
            <a:ext cx="3385800" cy="2469119"/>
            <a:chOff x="3766664" y="2545205"/>
            <a:chExt cx="7776000" cy="2469119"/>
          </a:xfrm>
        </p:grpSpPr>
        <p:cxnSp>
          <p:nvCxnSpPr>
            <p:cNvPr id="31" name="Gerade Verbindung 6">
              <a:extLst>
                <a:ext uri="{FF2B5EF4-FFF2-40B4-BE49-F238E27FC236}">
                  <a16:creationId xmlns:a16="http://schemas.microsoft.com/office/drawing/2014/main" id="{7339C161-9E76-4B21-FFFE-F2C918A87559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3766664" y="2545205"/>
              <a:ext cx="7776000" cy="0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rgbClr val="9999A9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</p:cxnSp>
        <p:cxnSp>
          <p:nvCxnSpPr>
            <p:cNvPr id="32" name="Gerade Verbindung 7">
              <a:extLst>
                <a:ext uri="{FF2B5EF4-FFF2-40B4-BE49-F238E27FC236}">
                  <a16:creationId xmlns:a16="http://schemas.microsoft.com/office/drawing/2014/main" id="{B5759D88-F288-C32A-F0F2-0F4A2F33A15E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3766664" y="3782189"/>
              <a:ext cx="7776000" cy="0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rgbClr val="9999A9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</p:cxnSp>
        <p:cxnSp>
          <p:nvCxnSpPr>
            <p:cNvPr id="33" name="Gerade Verbindung 8">
              <a:extLst>
                <a:ext uri="{FF2B5EF4-FFF2-40B4-BE49-F238E27FC236}">
                  <a16:creationId xmlns:a16="http://schemas.microsoft.com/office/drawing/2014/main" id="{00269303-1615-EE22-B643-46AF88A951E7}"/>
                </a:ext>
              </a:extLst>
            </p:cNvPr>
            <p:cNvCxnSpPr>
              <a:cxnSpLocks/>
            </p:cNvCxnSpPr>
            <p:nvPr/>
          </p:nvCxnSpPr>
          <p:spPr bwMode="gray">
            <a:xfrm flipH="1">
              <a:off x="3766664" y="5014324"/>
              <a:ext cx="7776000" cy="0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rgbClr val="9999A9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tx1"/>
                    </a:outerShdw>
                  </a:effectLst>
                </a14:hiddenEffects>
              </a:ext>
            </a:extLst>
          </p:spPr>
        </p:cxnSp>
      </p:grpSp>
      <p:sp>
        <p:nvSpPr>
          <p:cNvPr id="34" name="Textfeld 2">
            <a:extLst>
              <a:ext uri="{FF2B5EF4-FFF2-40B4-BE49-F238E27FC236}">
                <a16:creationId xmlns:a16="http://schemas.microsoft.com/office/drawing/2014/main" id="{2E116874-59B8-575D-2026-02A7BD14A860}"/>
              </a:ext>
            </a:extLst>
          </p:cNvPr>
          <p:cNvSpPr txBox="1">
            <a:spLocks/>
          </p:cNvSpPr>
          <p:nvPr/>
        </p:nvSpPr>
        <p:spPr bwMode="gray">
          <a:xfrm>
            <a:off x="7886861" y="1616629"/>
            <a:ext cx="2702126" cy="1054251"/>
          </a:xfrm>
          <a:prstGeom prst="rect">
            <a:avLst/>
          </a:prstGeom>
          <a:noFill/>
          <a:ln w="38100" cap="rnd">
            <a:noFill/>
            <a:prstDash val="sysDot"/>
          </a:ln>
        </p:spPr>
        <p:txBody>
          <a:bodyPr wrap="square" lIns="0" tIns="0" rIns="0" bIns="0" rtlCol="0" anchor="t">
            <a:noAutofit/>
          </a:bodyPr>
          <a:lstStyle/>
          <a:p>
            <a:pPr algn="r">
              <a:defRPr/>
            </a:pPr>
            <a:r>
              <a:rPr lang="en-US" altLang="de-DE" sz="1599" b="1">
                <a:ea typeface="Arial Unicode MS"/>
              </a:rPr>
              <a:t>Application</a:t>
            </a:r>
          </a:p>
        </p:txBody>
      </p:sp>
      <p:sp>
        <p:nvSpPr>
          <p:cNvPr id="35" name="Textfeld 3">
            <a:extLst>
              <a:ext uri="{FF2B5EF4-FFF2-40B4-BE49-F238E27FC236}">
                <a16:creationId xmlns:a16="http://schemas.microsoft.com/office/drawing/2014/main" id="{493FFFF4-8AC9-F3A2-C240-BBFF270C3716}"/>
              </a:ext>
            </a:extLst>
          </p:cNvPr>
          <p:cNvSpPr txBox="1">
            <a:spLocks/>
          </p:cNvSpPr>
          <p:nvPr/>
        </p:nvSpPr>
        <p:spPr bwMode="gray">
          <a:xfrm>
            <a:off x="7886861" y="2848765"/>
            <a:ext cx="2702126" cy="1068643"/>
          </a:xfrm>
          <a:prstGeom prst="rect">
            <a:avLst/>
          </a:prstGeom>
          <a:noFill/>
          <a:ln w="38100" cap="rnd">
            <a:noFill/>
            <a:prstDash val="sysDot"/>
          </a:ln>
        </p:spPr>
        <p:txBody>
          <a:bodyPr wrap="square" lIns="0" tIns="0" rIns="0" bIns="0" rtlCol="0" anchor="t">
            <a:noAutofit/>
          </a:bodyPr>
          <a:lstStyle>
            <a:defPPr>
              <a:defRPr lang="de-DE"/>
            </a:defPPr>
            <a:lvl1pPr>
              <a:defRPr sz="2000" b="1"/>
            </a:lvl1pPr>
          </a:lstStyle>
          <a:p>
            <a:pPr algn="r">
              <a:defRPr/>
            </a:pPr>
            <a:r>
              <a:rPr lang="en-US" altLang="de-DE" sz="1599">
                <a:ea typeface="Arial Unicode MS"/>
              </a:rPr>
              <a:t>Operating System …</a:t>
            </a:r>
          </a:p>
        </p:txBody>
      </p:sp>
      <p:sp>
        <p:nvSpPr>
          <p:cNvPr id="36" name="Textfeld 4">
            <a:extLst>
              <a:ext uri="{FF2B5EF4-FFF2-40B4-BE49-F238E27FC236}">
                <a16:creationId xmlns:a16="http://schemas.microsoft.com/office/drawing/2014/main" id="{CAE91C32-1302-6DA2-1F50-14381D99B8BD}"/>
              </a:ext>
            </a:extLst>
          </p:cNvPr>
          <p:cNvSpPr txBox="1">
            <a:spLocks/>
          </p:cNvSpPr>
          <p:nvPr/>
        </p:nvSpPr>
        <p:spPr bwMode="gray">
          <a:xfrm>
            <a:off x="7886861" y="4085749"/>
            <a:ext cx="2702126" cy="1061447"/>
          </a:xfrm>
          <a:prstGeom prst="rect">
            <a:avLst/>
          </a:prstGeom>
          <a:noFill/>
          <a:ln w="38100" cap="rnd">
            <a:noFill/>
            <a:prstDash val="sysDot"/>
          </a:ln>
        </p:spPr>
        <p:txBody>
          <a:bodyPr wrap="square" lIns="0" tIns="0" rIns="0" bIns="0" rtlCol="0" anchor="t">
            <a:noAutofit/>
          </a:bodyPr>
          <a:lstStyle/>
          <a:p>
            <a:pPr algn="r">
              <a:defRPr/>
            </a:pPr>
            <a:r>
              <a:rPr lang="en-US" altLang="de-DE" sz="1599" b="1" dirty="0">
                <a:ea typeface="Arial Unicode MS"/>
              </a:rPr>
              <a:t>Microarchitecture / RTL</a:t>
            </a:r>
          </a:p>
        </p:txBody>
      </p:sp>
      <p:sp>
        <p:nvSpPr>
          <p:cNvPr id="37" name="Textfeld 5">
            <a:extLst>
              <a:ext uri="{FF2B5EF4-FFF2-40B4-BE49-F238E27FC236}">
                <a16:creationId xmlns:a16="http://schemas.microsoft.com/office/drawing/2014/main" id="{13D1725B-F558-D4C5-68BF-2AA4D469F1CD}"/>
              </a:ext>
            </a:extLst>
          </p:cNvPr>
          <p:cNvSpPr txBox="1">
            <a:spLocks/>
          </p:cNvSpPr>
          <p:nvPr/>
        </p:nvSpPr>
        <p:spPr bwMode="gray">
          <a:xfrm>
            <a:off x="7800812" y="5263678"/>
            <a:ext cx="2702126" cy="1054251"/>
          </a:xfrm>
          <a:prstGeom prst="rect">
            <a:avLst/>
          </a:prstGeom>
          <a:noFill/>
          <a:ln w="38100" cap="rnd">
            <a:noFill/>
            <a:prstDash val="sysDot"/>
          </a:ln>
        </p:spPr>
        <p:txBody>
          <a:bodyPr wrap="square" lIns="0" tIns="0" rIns="0" bIns="0" rtlCol="0" anchor="t">
            <a:noAutofit/>
          </a:bodyPr>
          <a:lstStyle/>
          <a:p>
            <a:pPr algn="r">
              <a:defRPr/>
            </a:pPr>
            <a:r>
              <a:rPr lang="en-US" altLang="de-DE" sz="1599" b="1" dirty="0">
                <a:ea typeface="Arial Unicode MS"/>
              </a:rPr>
              <a:t>Gate / Physical / Layout …</a:t>
            </a:r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B9665B0C-DB30-9E65-13AA-4BE124CB4A96}"/>
              </a:ext>
            </a:extLst>
          </p:cNvPr>
          <p:cNvSpPr/>
          <p:nvPr/>
        </p:nvSpPr>
        <p:spPr>
          <a:xfrm rot="16200000">
            <a:off x="10403447" y="2113350"/>
            <a:ext cx="2267853" cy="484632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/>
            <a:r>
              <a:rPr lang="en-US"/>
              <a:t>Software level</a:t>
            </a:r>
            <a:endParaRPr lang="de-DE"/>
          </a:p>
        </p:txBody>
      </p:sp>
      <p:sp>
        <p:nvSpPr>
          <p:cNvPr id="39" name="Arrow: Pentagon 38">
            <a:extLst>
              <a:ext uri="{FF2B5EF4-FFF2-40B4-BE49-F238E27FC236}">
                <a16:creationId xmlns:a16="http://schemas.microsoft.com/office/drawing/2014/main" id="{699C46C3-95A4-605A-D542-44EBA46D7101}"/>
              </a:ext>
            </a:extLst>
          </p:cNvPr>
          <p:cNvSpPr/>
          <p:nvPr/>
        </p:nvSpPr>
        <p:spPr>
          <a:xfrm rot="5400000" flipV="1">
            <a:off x="10403447" y="4567920"/>
            <a:ext cx="2267854" cy="484632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 anchorCtr="0"/>
          <a:lstStyle/>
          <a:p>
            <a:pPr algn="ctr"/>
            <a:r>
              <a:rPr lang="en-US"/>
              <a:t>Hardware level</a:t>
            </a:r>
            <a:endParaRPr lang="de-DE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CA79AA3-6DAB-FD74-E249-CC83E6D5F277}"/>
              </a:ext>
            </a:extLst>
          </p:cNvPr>
          <p:cNvGrpSpPr/>
          <p:nvPr/>
        </p:nvGrpSpPr>
        <p:grpSpPr>
          <a:xfrm>
            <a:off x="391603" y="3352667"/>
            <a:ext cx="2622885" cy="1266996"/>
            <a:chOff x="6617368" y="1997242"/>
            <a:chExt cx="2622885" cy="933531"/>
          </a:xfrm>
          <a:solidFill>
            <a:schemeClr val="accent2"/>
          </a:solidFill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B26E465-A67E-310E-9794-D7B7176E4EA3}"/>
                </a:ext>
              </a:extLst>
            </p:cNvPr>
            <p:cNvSpPr/>
            <p:nvPr/>
          </p:nvSpPr>
          <p:spPr>
            <a:xfrm>
              <a:off x="6617368" y="1997242"/>
              <a:ext cx="2622885" cy="933531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 anchorCtr="0"/>
            <a:lstStyle/>
            <a:p>
              <a:pPr algn="ctr"/>
              <a:r>
                <a:rPr lang="en-US" sz="2800" b="1" dirty="0">
                  <a:solidFill>
                    <a:schemeClr val="tx1"/>
                  </a:solidFill>
                </a:rPr>
                <a:t>49%</a:t>
              </a:r>
            </a:p>
            <a:p>
              <a:pPr algn="ctr"/>
              <a:endParaRPr lang="en-US" b="1" dirty="0">
                <a:solidFill>
                  <a:schemeClr val="tx1"/>
                </a:solidFill>
              </a:endParaRPr>
            </a:p>
            <a:p>
              <a:pPr algn="ctr"/>
              <a:r>
                <a:rPr lang="en-US" sz="1100" b="1" dirty="0">
                  <a:solidFill>
                    <a:schemeClr val="accent2"/>
                  </a:solidFill>
                </a:rPr>
                <a:t>Safety Critical FPGA</a:t>
              </a: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B945664B-8414-1058-9FCF-ACFC4CF31980}"/>
                </a:ext>
              </a:extLst>
            </p:cNvPr>
            <p:cNvCxnSpPr/>
            <p:nvPr/>
          </p:nvCxnSpPr>
          <p:spPr>
            <a:xfrm>
              <a:off x="6880860" y="2606040"/>
              <a:ext cx="2080260" cy="0"/>
            </a:xfrm>
            <a:prstGeom prst="line">
              <a:avLst/>
            </a:prstGeom>
            <a:grpFill/>
            <a:ln w="9525">
              <a:solidFill>
                <a:schemeClr val="accent2"/>
              </a:solidFill>
              <a:headEnd w="lg" len="lg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AEAEED14-E3AE-45CB-7537-304FFE608887}"/>
              </a:ext>
            </a:extLst>
          </p:cNvPr>
          <p:cNvGrpSpPr/>
          <p:nvPr/>
        </p:nvGrpSpPr>
        <p:grpSpPr>
          <a:xfrm>
            <a:off x="391603" y="1925296"/>
            <a:ext cx="2622885" cy="1266997"/>
            <a:chOff x="6617368" y="1997242"/>
            <a:chExt cx="2622885" cy="933532"/>
          </a:xfrm>
          <a:solidFill>
            <a:schemeClr val="accent2"/>
          </a:solidFill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99C93BF-E759-5692-1B6E-AA74E619ABB1}"/>
                </a:ext>
              </a:extLst>
            </p:cNvPr>
            <p:cNvSpPr/>
            <p:nvPr/>
          </p:nvSpPr>
          <p:spPr>
            <a:xfrm>
              <a:off x="6617368" y="1997242"/>
              <a:ext cx="2622885" cy="933532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 anchorCtr="0"/>
            <a:lstStyle/>
            <a:p>
              <a:pPr algn="ctr"/>
              <a:r>
                <a:rPr lang="en-US" sz="2800" b="1" dirty="0">
                  <a:solidFill>
                    <a:schemeClr val="tx1"/>
                  </a:solidFill>
                </a:rPr>
                <a:t>58%</a:t>
              </a:r>
            </a:p>
            <a:p>
              <a:pPr algn="ctr"/>
              <a:endParaRPr lang="en-US" b="1" dirty="0">
                <a:solidFill>
                  <a:schemeClr val="tx1"/>
                </a:solidFill>
              </a:endParaRPr>
            </a:p>
            <a:p>
              <a:pPr algn="ctr"/>
              <a:r>
                <a:rPr lang="en-US" sz="1100" b="1" dirty="0">
                  <a:solidFill>
                    <a:schemeClr val="accent2"/>
                  </a:solidFill>
                </a:rPr>
                <a:t>Safety Critical ASIC</a:t>
              </a: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AA43CF35-9D7D-864A-5ECC-BC1613AFF8B1}"/>
                </a:ext>
              </a:extLst>
            </p:cNvPr>
            <p:cNvCxnSpPr/>
            <p:nvPr/>
          </p:nvCxnSpPr>
          <p:spPr>
            <a:xfrm>
              <a:off x="6880860" y="2606040"/>
              <a:ext cx="2080260" cy="0"/>
            </a:xfrm>
            <a:prstGeom prst="line">
              <a:avLst/>
            </a:prstGeom>
            <a:grpFill/>
            <a:ln w="9525">
              <a:solidFill>
                <a:schemeClr val="accent2"/>
              </a:solidFill>
              <a:headEnd w="lg" len="lg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E38D2FD-A1B3-4EA3-9141-DC41B13FEBE5}"/>
              </a:ext>
            </a:extLst>
          </p:cNvPr>
          <p:cNvGrpSpPr/>
          <p:nvPr/>
        </p:nvGrpSpPr>
        <p:grpSpPr>
          <a:xfrm>
            <a:off x="3145802" y="3352667"/>
            <a:ext cx="1432978" cy="1266996"/>
            <a:chOff x="6617368" y="1997242"/>
            <a:chExt cx="2622885" cy="933531"/>
          </a:xfrm>
          <a:solidFill>
            <a:schemeClr val="accent2"/>
          </a:solidFill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6B93C2D-BE8C-F0DA-1F88-9D83B2F02120}"/>
                </a:ext>
              </a:extLst>
            </p:cNvPr>
            <p:cNvSpPr/>
            <p:nvPr/>
          </p:nvSpPr>
          <p:spPr>
            <a:xfrm>
              <a:off x="6617368" y="1997242"/>
              <a:ext cx="2622885" cy="933531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 anchorCtr="0"/>
            <a:lstStyle/>
            <a:p>
              <a:pPr algn="ctr"/>
              <a:r>
                <a:rPr lang="en-US" sz="2800" b="1" dirty="0">
                  <a:solidFill>
                    <a:schemeClr val="tx1"/>
                  </a:solidFill>
                </a:rPr>
                <a:t>+5%</a:t>
              </a:r>
            </a:p>
            <a:p>
              <a:pPr algn="ctr"/>
              <a:endParaRPr lang="en-US" b="1" dirty="0">
                <a:solidFill>
                  <a:schemeClr val="bg1"/>
                </a:solidFill>
              </a:endParaRPr>
            </a:p>
            <a:p>
              <a:pPr algn="ctr"/>
              <a:r>
                <a:rPr lang="en-US" sz="1100" b="1" dirty="0">
                  <a:solidFill>
                    <a:srgbClr val="00D7A0"/>
                  </a:solidFill>
                </a:rPr>
                <a:t>since 2020</a:t>
              </a: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F59AAF1C-6662-6FEA-6501-DF4815B700CB}"/>
                </a:ext>
              </a:extLst>
            </p:cNvPr>
            <p:cNvCxnSpPr/>
            <p:nvPr/>
          </p:nvCxnSpPr>
          <p:spPr>
            <a:xfrm>
              <a:off x="6880860" y="2606040"/>
              <a:ext cx="2080260" cy="0"/>
            </a:xfrm>
            <a:prstGeom prst="line">
              <a:avLst/>
            </a:prstGeom>
            <a:grpFill/>
            <a:ln w="9525">
              <a:solidFill>
                <a:schemeClr val="accent2"/>
              </a:solidFill>
              <a:headEnd w="lg" len="lg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6B1E6A9-61B5-5AD9-CE9D-9F5FBB80A874}"/>
              </a:ext>
            </a:extLst>
          </p:cNvPr>
          <p:cNvGrpSpPr/>
          <p:nvPr/>
        </p:nvGrpSpPr>
        <p:grpSpPr>
          <a:xfrm>
            <a:off x="3145802" y="1925296"/>
            <a:ext cx="1432978" cy="1266996"/>
            <a:chOff x="6617368" y="1997242"/>
            <a:chExt cx="2622885" cy="933531"/>
          </a:xfrm>
          <a:solidFill>
            <a:schemeClr val="accent2"/>
          </a:solidFill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AA9BE1F-785B-4CA1-6FF8-ED7D62B4F960}"/>
                </a:ext>
              </a:extLst>
            </p:cNvPr>
            <p:cNvSpPr/>
            <p:nvPr/>
          </p:nvSpPr>
          <p:spPr>
            <a:xfrm>
              <a:off x="6617368" y="1997242"/>
              <a:ext cx="2622885" cy="933531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 anchorCtr="0"/>
            <a:lstStyle/>
            <a:p>
              <a:pPr algn="ctr"/>
              <a:r>
                <a:rPr lang="en-US" sz="2800" b="1" dirty="0">
                  <a:solidFill>
                    <a:schemeClr val="tx1"/>
                  </a:solidFill>
                </a:rPr>
                <a:t>+4%</a:t>
              </a:r>
            </a:p>
            <a:p>
              <a:pPr algn="ctr"/>
              <a:endParaRPr lang="en-US" b="1" dirty="0">
                <a:solidFill>
                  <a:schemeClr val="bg1"/>
                </a:solidFill>
              </a:endParaRPr>
            </a:p>
            <a:p>
              <a:pPr algn="ctr"/>
              <a:r>
                <a:rPr lang="en-US" sz="1100" b="1" dirty="0">
                  <a:solidFill>
                    <a:srgbClr val="00D7A0"/>
                  </a:solidFill>
                </a:rPr>
                <a:t>since 2020</a:t>
              </a:r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CDAF445F-7065-9E5D-08F3-E5F73C43925A}"/>
                </a:ext>
              </a:extLst>
            </p:cNvPr>
            <p:cNvCxnSpPr/>
            <p:nvPr/>
          </p:nvCxnSpPr>
          <p:spPr>
            <a:xfrm>
              <a:off x="6880860" y="2606040"/>
              <a:ext cx="2080260" cy="0"/>
            </a:xfrm>
            <a:prstGeom prst="line">
              <a:avLst/>
            </a:prstGeom>
            <a:grpFill/>
            <a:ln w="9525">
              <a:solidFill>
                <a:schemeClr val="accent2"/>
              </a:solidFill>
              <a:headEnd w="lg" len="lg"/>
              <a:tailEnd type="non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6C531288-3D8B-EBF5-A06E-CF5E4F62DB35}"/>
              </a:ext>
            </a:extLst>
          </p:cNvPr>
          <p:cNvSpPr txBox="1"/>
          <p:nvPr/>
        </p:nvSpPr>
        <p:spPr>
          <a:xfrm>
            <a:off x="379853" y="4865067"/>
            <a:ext cx="7128669" cy="1077218"/>
          </a:xfrm>
          <a:prstGeom prst="rect">
            <a:avLst/>
          </a:prstGeom>
          <a:solidFill>
            <a:srgbClr val="333353"/>
          </a:solidFill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en-US" sz="1600" dirty="0">
                <a:solidFill>
                  <a:schemeClr val="tx1">
                    <a:lumMod val="95000"/>
                  </a:schemeClr>
                </a:solidFill>
              </a:rPr>
              <a:t>Security is a topic at every layer of a system operation</a:t>
            </a:r>
          </a:p>
          <a:p>
            <a:pPr>
              <a:lnSpc>
                <a:spcPct val="100000"/>
              </a:lnSpc>
            </a:pPr>
            <a:r>
              <a:rPr lang="en-US" sz="1600" dirty="0">
                <a:solidFill>
                  <a:schemeClr val="tx1">
                    <a:lumMod val="95000"/>
                  </a:schemeClr>
                </a:solidFill>
              </a:rPr>
              <a:t>Hardware is the foundation of all secure applications</a:t>
            </a:r>
          </a:p>
          <a:p>
            <a:pPr marL="438135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95000"/>
                  </a:schemeClr>
                </a:solidFill>
              </a:rPr>
              <a:t>Hardware with vulnerabilities compromises the whole system</a:t>
            </a:r>
          </a:p>
          <a:p>
            <a:pPr marL="438135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>
                    <a:lumMod val="95000"/>
                  </a:schemeClr>
                </a:solidFill>
              </a:rPr>
              <a:t>Hardware must ensure the sanctity of secure operation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85A0505-BF67-5E78-BBB2-A2A5A1892BA3}"/>
              </a:ext>
            </a:extLst>
          </p:cNvPr>
          <p:cNvSpPr txBox="1"/>
          <p:nvPr/>
        </p:nvSpPr>
        <p:spPr>
          <a:xfrm>
            <a:off x="379853" y="1358776"/>
            <a:ext cx="7128669" cy="338554"/>
          </a:xfrm>
          <a:prstGeom prst="rect">
            <a:avLst/>
          </a:prstGeom>
          <a:solidFill>
            <a:srgbClr val="333353"/>
          </a:solidFill>
        </p:spPr>
        <p:txBody>
          <a:bodyPr wrap="square">
            <a:spAutoFit/>
          </a:bodyPr>
          <a:lstStyle/>
          <a:p>
            <a:r>
              <a:rPr lang="en-US" sz="1600" dirty="0"/>
              <a:t>Designs containing security features that must be verified</a:t>
            </a:r>
          </a:p>
        </p:txBody>
      </p:sp>
    </p:spTree>
    <p:extLst>
      <p:ext uri="{BB962C8B-B14F-4D97-AF65-F5344CB8AC3E}">
        <p14:creationId xmlns:p14="http://schemas.microsoft.com/office/powerpoint/2010/main" val="34441511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A59CE0-18CE-9447-F486-8403978474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Security Verification Challeng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C9A97A-7CF3-D8E2-EC21-C4CB6F9DE30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Restricted | © Siemens 2024  Siemens Digital Industries Software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BA59E51-E601-F333-D97D-3190696F31F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/>
          </a:blip>
          <a:srcRect l="7536"/>
          <a:stretch/>
        </p:blipFill>
        <p:spPr>
          <a:xfrm>
            <a:off x="261257" y="1252497"/>
            <a:ext cx="11718152" cy="5126703"/>
          </a:xfrm>
          <a:prstGeom prst="rect">
            <a:avLst/>
          </a:prstGeom>
        </p:spPr>
      </p:pic>
      <p:cxnSp>
        <p:nvCxnSpPr>
          <p:cNvPr id="5" name="Gerade Verbindung mit Pfeil 53">
            <a:extLst>
              <a:ext uri="{FF2B5EF4-FFF2-40B4-BE49-F238E27FC236}">
                <a16:creationId xmlns:a16="http://schemas.microsoft.com/office/drawing/2014/main" id="{026F336B-A284-8CBF-F652-9B3D9150755F}"/>
              </a:ext>
            </a:extLst>
          </p:cNvPr>
          <p:cNvCxnSpPr>
            <a:cxnSpLocks/>
          </p:cNvCxnSpPr>
          <p:nvPr/>
        </p:nvCxnSpPr>
        <p:spPr bwMode="auto">
          <a:xfrm>
            <a:off x="591828" y="1761660"/>
            <a:ext cx="5109788" cy="0"/>
          </a:xfrm>
          <a:prstGeom prst="straightConnector1">
            <a:avLst/>
          </a:prstGeom>
          <a:noFill/>
          <a:ln w="19050" cap="flat" cmpd="sng" algn="ctr">
            <a:solidFill>
              <a:srgbClr val="CCCCD4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6" name="Gerade Verbindung mit Pfeil 56">
            <a:extLst>
              <a:ext uri="{FF2B5EF4-FFF2-40B4-BE49-F238E27FC236}">
                <a16:creationId xmlns:a16="http://schemas.microsoft.com/office/drawing/2014/main" id="{833061B8-E168-5DC1-6FFB-357FFCE6521B}"/>
              </a:ext>
            </a:extLst>
          </p:cNvPr>
          <p:cNvCxnSpPr>
            <a:cxnSpLocks/>
          </p:cNvCxnSpPr>
          <p:nvPr/>
        </p:nvCxnSpPr>
        <p:spPr bwMode="auto">
          <a:xfrm flipH="1">
            <a:off x="7712091" y="2736361"/>
            <a:ext cx="3855569" cy="0"/>
          </a:xfrm>
          <a:prstGeom prst="straightConnector1">
            <a:avLst/>
          </a:prstGeom>
          <a:noFill/>
          <a:ln w="19050" cap="flat" cmpd="sng" algn="ctr">
            <a:solidFill>
              <a:srgbClr val="CCCCD4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7" name="Gerade Verbindung mit Pfeil 61">
            <a:extLst>
              <a:ext uri="{FF2B5EF4-FFF2-40B4-BE49-F238E27FC236}">
                <a16:creationId xmlns:a16="http://schemas.microsoft.com/office/drawing/2014/main" id="{8EFF3DB5-7F6E-A22C-BC32-0B2BAD41994D}"/>
              </a:ext>
            </a:extLst>
          </p:cNvPr>
          <p:cNvCxnSpPr>
            <a:cxnSpLocks/>
          </p:cNvCxnSpPr>
          <p:nvPr/>
        </p:nvCxnSpPr>
        <p:spPr bwMode="auto">
          <a:xfrm>
            <a:off x="440191" y="3254087"/>
            <a:ext cx="3633793" cy="0"/>
          </a:xfrm>
          <a:prstGeom prst="straightConnector1">
            <a:avLst/>
          </a:prstGeom>
          <a:noFill/>
          <a:ln w="19050" cap="flat" cmpd="sng" algn="ctr">
            <a:solidFill>
              <a:srgbClr val="CCCCD4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8" name="Gerade Verbindung mit Pfeil 68">
            <a:extLst>
              <a:ext uri="{FF2B5EF4-FFF2-40B4-BE49-F238E27FC236}">
                <a16:creationId xmlns:a16="http://schemas.microsoft.com/office/drawing/2014/main" id="{1E0EC20A-FF8B-291C-8A08-730F13CF060B}"/>
              </a:ext>
            </a:extLst>
          </p:cNvPr>
          <p:cNvCxnSpPr>
            <a:cxnSpLocks/>
          </p:cNvCxnSpPr>
          <p:nvPr/>
        </p:nvCxnSpPr>
        <p:spPr bwMode="auto">
          <a:xfrm flipH="1">
            <a:off x="7989361" y="4288174"/>
            <a:ext cx="3603699" cy="0"/>
          </a:xfrm>
          <a:prstGeom prst="straightConnector1">
            <a:avLst/>
          </a:prstGeom>
          <a:noFill/>
          <a:ln w="19050" cap="flat" cmpd="sng" algn="ctr">
            <a:solidFill>
              <a:srgbClr val="CCCCD4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9" name="Gerade Verbindung mit Pfeil 72">
            <a:extLst>
              <a:ext uri="{FF2B5EF4-FFF2-40B4-BE49-F238E27FC236}">
                <a16:creationId xmlns:a16="http://schemas.microsoft.com/office/drawing/2014/main" id="{D8229452-E7E3-CBF1-6FDA-8D4DA696789B}"/>
              </a:ext>
            </a:extLst>
          </p:cNvPr>
          <p:cNvCxnSpPr>
            <a:cxnSpLocks/>
          </p:cNvCxnSpPr>
          <p:nvPr/>
        </p:nvCxnSpPr>
        <p:spPr bwMode="auto">
          <a:xfrm flipH="1">
            <a:off x="5830447" y="5842356"/>
            <a:ext cx="5114913" cy="0"/>
          </a:xfrm>
          <a:prstGeom prst="straightConnector1">
            <a:avLst/>
          </a:prstGeom>
          <a:noFill/>
          <a:ln w="19050" cap="flat" cmpd="sng" algn="ctr">
            <a:solidFill>
              <a:srgbClr val="CCCCD4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10" name="Gerade Verbindung mit Pfeil 77">
            <a:extLst>
              <a:ext uri="{FF2B5EF4-FFF2-40B4-BE49-F238E27FC236}">
                <a16:creationId xmlns:a16="http://schemas.microsoft.com/office/drawing/2014/main" id="{95714C94-51B4-5356-47C9-9BE04BC88796}"/>
              </a:ext>
            </a:extLst>
          </p:cNvPr>
          <p:cNvCxnSpPr>
            <a:cxnSpLocks/>
          </p:cNvCxnSpPr>
          <p:nvPr/>
        </p:nvCxnSpPr>
        <p:spPr bwMode="auto">
          <a:xfrm>
            <a:off x="440191" y="4899150"/>
            <a:ext cx="3849681" cy="0"/>
          </a:xfrm>
          <a:prstGeom prst="straightConnector1">
            <a:avLst/>
          </a:prstGeom>
          <a:noFill/>
          <a:ln w="19050" cap="flat" cmpd="sng" algn="ctr">
            <a:solidFill>
              <a:srgbClr val="CCCCD4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11" name="Rechteck 28">
            <a:extLst>
              <a:ext uri="{FF2B5EF4-FFF2-40B4-BE49-F238E27FC236}">
                <a16:creationId xmlns:a16="http://schemas.microsoft.com/office/drawing/2014/main" id="{84E06F75-E8F1-689B-7A45-AF3B5C199EF1}"/>
              </a:ext>
            </a:extLst>
          </p:cNvPr>
          <p:cNvSpPr/>
          <p:nvPr/>
        </p:nvSpPr>
        <p:spPr bwMode="gray">
          <a:xfrm>
            <a:off x="453942" y="1751500"/>
            <a:ext cx="2608252" cy="897173"/>
          </a:xfrm>
          <a:prstGeom prst="rect">
            <a:avLst/>
          </a:prstGeom>
          <a:solidFill>
            <a:srgbClr val="F3F3F0">
              <a:alpha val="94000"/>
            </a:srgbClr>
          </a:solidFill>
          <a:ln w="19050">
            <a:solidFill>
              <a:srgbClr val="CCCCD4"/>
            </a:solidFill>
            <a:miter lim="800000"/>
          </a:ln>
          <a:effectLst/>
        </p:spPr>
        <p:txBody>
          <a:bodyPr wrap="square" lIns="27432" tIns="71963" rIns="27432" bIns="108000" numCol="1" spcCol="72000" rtlCol="0" anchor="t" anchorCtr="0">
            <a:spAutoFit/>
          </a:bodyPr>
          <a:lstStyle/>
          <a:p>
            <a:pPr>
              <a:defRPr/>
            </a:pPr>
            <a:r>
              <a:rPr lang="en-US" altLang="de-DE" sz="1599" b="1" dirty="0">
                <a:solidFill>
                  <a:schemeClr val="accent1"/>
                </a:solidFill>
                <a:ea typeface="Arial Unicode MS"/>
              </a:rPr>
              <a:t>Confidentiality</a:t>
            </a:r>
          </a:p>
          <a:p>
            <a:pPr marL="0" lvl="1" indent="0">
              <a:spcBef>
                <a:spcPts val="300"/>
              </a:spcBef>
              <a:buClr>
                <a:srgbClr val="3C464B"/>
              </a:buClr>
              <a:buNone/>
              <a:defRPr/>
            </a:pPr>
            <a:r>
              <a:rPr lang="en-US" altLang="de-DE" sz="1400" dirty="0">
                <a:solidFill>
                  <a:srgbClr val="66667E"/>
                </a:solidFill>
                <a:ea typeface="Arial Unicode MS"/>
                <a:cs typeface="Arial" pitchFamily="34" charset="0"/>
              </a:rPr>
              <a:t>In</a:t>
            </a:r>
            <a:r>
              <a:rPr lang="en-US" sz="1400" dirty="0">
                <a:solidFill>
                  <a:srgbClr val="66667E"/>
                </a:solidFill>
                <a:latin typeface="+mn-lt"/>
              </a:rPr>
              <a:t>ternal data buses are vulnerable to external tampering</a:t>
            </a:r>
          </a:p>
        </p:txBody>
      </p:sp>
      <p:sp>
        <p:nvSpPr>
          <p:cNvPr id="12" name="Rechteck 28">
            <a:extLst>
              <a:ext uri="{FF2B5EF4-FFF2-40B4-BE49-F238E27FC236}">
                <a16:creationId xmlns:a16="http://schemas.microsoft.com/office/drawing/2014/main" id="{D315D5F3-5896-9B6E-96A8-8005CE403D33}"/>
              </a:ext>
            </a:extLst>
          </p:cNvPr>
          <p:cNvSpPr/>
          <p:nvPr/>
        </p:nvSpPr>
        <p:spPr bwMode="gray">
          <a:xfrm>
            <a:off x="453942" y="3254087"/>
            <a:ext cx="2518688" cy="681766"/>
          </a:xfrm>
          <a:prstGeom prst="rect">
            <a:avLst/>
          </a:prstGeom>
          <a:solidFill>
            <a:srgbClr val="F3F3F0">
              <a:alpha val="94000"/>
            </a:srgbClr>
          </a:solidFill>
          <a:ln w="19050">
            <a:solidFill>
              <a:srgbClr val="CCCCD4"/>
            </a:solidFill>
            <a:miter lim="800000"/>
          </a:ln>
          <a:effectLst/>
        </p:spPr>
        <p:txBody>
          <a:bodyPr wrap="square" lIns="27432" tIns="72000" rIns="27432" bIns="108000" numCol="1" spcCol="72000" rtlCol="0" anchor="t" anchorCtr="0">
            <a:spAutoFit/>
          </a:bodyPr>
          <a:lstStyle/>
          <a:p>
            <a:pPr>
              <a:defRPr/>
            </a:pPr>
            <a:r>
              <a:rPr lang="en-US" altLang="de-DE" sz="1599" b="1">
                <a:solidFill>
                  <a:schemeClr val="accent1"/>
                </a:solidFill>
                <a:ea typeface="Arial Unicode MS"/>
              </a:rPr>
              <a:t>Integrity</a:t>
            </a:r>
          </a:p>
          <a:p>
            <a:pPr marL="0" lvl="1" indent="0">
              <a:spcBef>
                <a:spcPts val="300"/>
              </a:spcBef>
              <a:buClr>
                <a:srgbClr val="3C464B"/>
              </a:buClr>
              <a:buNone/>
              <a:defRPr/>
            </a:pPr>
            <a:r>
              <a:rPr lang="en-US" sz="1400">
                <a:solidFill>
                  <a:srgbClr val="66667E"/>
                </a:solidFill>
                <a:latin typeface="+mn-lt"/>
              </a:rPr>
              <a:t>Data sanctity is critical</a:t>
            </a:r>
          </a:p>
        </p:txBody>
      </p:sp>
      <p:sp>
        <p:nvSpPr>
          <p:cNvPr id="13" name="Rechteck 28">
            <a:extLst>
              <a:ext uri="{FF2B5EF4-FFF2-40B4-BE49-F238E27FC236}">
                <a16:creationId xmlns:a16="http://schemas.microsoft.com/office/drawing/2014/main" id="{66EDF46D-C444-1F33-104F-13D11A9CFE50}"/>
              </a:ext>
            </a:extLst>
          </p:cNvPr>
          <p:cNvSpPr/>
          <p:nvPr/>
        </p:nvSpPr>
        <p:spPr bwMode="gray">
          <a:xfrm>
            <a:off x="453942" y="4900964"/>
            <a:ext cx="2518688" cy="892593"/>
          </a:xfrm>
          <a:prstGeom prst="rect">
            <a:avLst/>
          </a:prstGeom>
          <a:solidFill>
            <a:srgbClr val="F3F3F0">
              <a:alpha val="94000"/>
            </a:srgbClr>
          </a:solidFill>
          <a:ln w="19050">
            <a:solidFill>
              <a:srgbClr val="CCCCD4"/>
            </a:solidFill>
            <a:miter lim="800000"/>
          </a:ln>
          <a:effectLst/>
        </p:spPr>
        <p:txBody>
          <a:bodyPr wrap="square" lIns="27432" tIns="72000" rIns="27432" bIns="108000" numCol="1" spcCol="72000" rtlCol="0" anchor="t" anchorCtr="0">
            <a:spAutoFit/>
          </a:bodyPr>
          <a:lstStyle/>
          <a:p>
            <a:pPr>
              <a:defRPr/>
            </a:pPr>
            <a:r>
              <a:rPr lang="en-US" altLang="de-DE" sz="1599" b="1">
                <a:solidFill>
                  <a:schemeClr val="accent1"/>
                </a:solidFill>
                <a:ea typeface="Arial Unicode MS"/>
              </a:rPr>
              <a:t>Inversion</a:t>
            </a: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00000"/>
            </a:pPr>
            <a:r>
              <a:rPr lang="en-US" sz="1400">
                <a:solidFill>
                  <a:srgbClr val="66667E"/>
                </a:solidFill>
                <a:latin typeface="+mn-lt"/>
              </a:rPr>
              <a:t>Secret data must not reach </a:t>
            </a:r>
            <a:r>
              <a:rPr lang="en-US" sz="1400">
                <a:solidFill>
                  <a:srgbClr val="66667E"/>
                </a:solidFill>
              </a:rPr>
              <a:t>illegal </a:t>
            </a:r>
            <a:r>
              <a:rPr lang="en-US" sz="1400">
                <a:solidFill>
                  <a:srgbClr val="66667E"/>
                </a:solidFill>
                <a:latin typeface="+mn-lt"/>
              </a:rPr>
              <a:t>points unencrypted</a:t>
            </a:r>
          </a:p>
        </p:txBody>
      </p:sp>
      <p:sp>
        <p:nvSpPr>
          <p:cNvPr id="14" name="Rechteck 28">
            <a:extLst>
              <a:ext uri="{FF2B5EF4-FFF2-40B4-BE49-F238E27FC236}">
                <a16:creationId xmlns:a16="http://schemas.microsoft.com/office/drawing/2014/main" id="{D6C816E8-C8C8-214C-74A1-33D0FBEF25AD}"/>
              </a:ext>
            </a:extLst>
          </p:cNvPr>
          <p:cNvSpPr/>
          <p:nvPr/>
        </p:nvSpPr>
        <p:spPr bwMode="gray">
          <a:xfrm>
            <a:off x="9193830" y="1794569"/>
            <a:ext cx="2518688" cy="941791"/>
          </a:xfrm>
          <a:prstGeom prst="rect">
            <a:avLst/>
          </a:prstGeom>
          <a:solidFill>
            <a:srgbClr val="F3F3F0">
              <a:alpha val="94000"/>
            </a:srgbClr>
          </a:solidFill>
          <a:ln w="19050">
            <a:solidFill>
              <a:srgbClr val="CCCCD4"/>
            </a:solidFill>
            <a:miter lim="800000"/>
          </a:ln>
          <a:effectLst/>
        </p:spPr>
        <p:txBody>
          <a:bodyPr wrap="square" lIns="27432" tIns="72000" rIns="27432" bIns="107944" numCol="1" spcCol="72000" rtlCol="0" anchor="b" anchorCtr="0">
            <a:noAutofit/>
          </a:bodyPr>
          <a:lstStyle/>
          <a:p>
            <a:pPr algn="r">
              <a:defRPr/>
            </a:pPr>
            <a:r>
              <a:rPr lang="en-US" altLang="de-DE" sz="1599" b="1" dirty="0">
                <a:solidFill>
                  <a:schemeClr val="accent1"/>
                </a:solidFill>
                <a:ea typeface="Arial Unicode MS"/>
              </a:rPr>
              <a:t>Sneak Path</a:t>
            </a:r>
          </a:p>
          <a:p>
            <a:pPr algn="r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20000"/>
            </a:pPr>
            <a:r>
              <a:rPr lang="en-US" sz="1400" dirty="0">
                <a:solidFill>
                  <a:srgbClr val="66667E"/>
                </a:solidFill>
                <a:latin typeface="+mn-lt"/>
              </a:rPr>
              <a:t>Represent significant risk compromising control systems</a:t>
            </a:r>
          </a:p>
        </p:txBody>
      </p:sp>
      <p:sp>
        <p:nvSpPr>
          <p:cNvPr id="15" name="Rechteck 28">
            <a:extLst>
              <a:ext uri="{FF2B5EF4-FFF2-40B4-BE49-F238E27FC236}">
                <a16:creationId xmlns:a16="http://schemas.microsoft.com/office/drawing/2014/main" id="{A142D7E8-7CA8-00FD-2081-BC811594202A}"/>
              </a:ext>
            </a:extLst>
          </p:cNvPr>
          <p:cNvSpPr/>
          <p:nvPr/>
        </p:nvSpPr>
        <p:spPr bwMode="gray">
          <a:xfrm>
            <a:off x="9193830" y="3175520"/>
            <a:ext cx="2518688" cy="1112654"/>
          </a:xfrm>
          <a:prstGeom prst="rect">
            <a:avLst/>
          </a:prstGeom>
          <a:solidFill>
            <a:srgbClr val="F3F3F0">
              <a:alpha val="94000"/>
            </a:srgbClr>
          </a:solidFill>
          <a:ln w="19050">
            <a:solidFill>
              <a:srgbClr val="CCCCD4"/>
            </a:solidFill>
            <a:miter lim="800000"/>
          </a:ln>
          <a:effectLst/>
        </p:spPr>
        <p:txBody>
          <a:bodyPr wrap="square" lIns="27432" tIns="72000" rIns="27432" bIns="108000" numCol="1" spcCol="72000" rtlCol="0" anchor="b" anchorCtr="0">
            <a:spAutoFit/>
          </a:bodyPr>
          <a:lstStyle/>
          <a:p>
            <a:pPr algn="r">
              <a:defRPr/>
            </a:pPr>
            <a:r>
              <a:rPr lang="en-US" altLang="de-DE" sz="1599" b="1" dirty="0">
                <a:solidFill>
                  <a:schemeClr val="accent1"/>
                </a:solidFill>
                <a:ea typeface="Arial Unicode MS"/>
              </a:rPr>
              <a:t>Verification Methods</a:t>
            </a:r>
          </a:p>
          <a:p>
            <a:pPr marL="0" lvl="1" indent="0" algn="r">
              <a:spcBef>
                <a:spcPts val="300"/>
              </a:spcBef>
              <a:buClr>
                <a:srgbClr val="3C464B"/>
              </a:buClr>
              <a:buNone/>
              <a:defRPr/>
            </a:pPr>
            <a:r>
              <a:rPr lang="en-US" altLang="de-DE" sz="1400" dirty="0">
                <a:solidFill>
                  <a:srgbClr val="66667E"/>
                </a:solidFill>
                <a:ea typeface="Arial Unicode MS"/>
                <a:cs typeface="Arial" pitchFamily="34" charset="0"/>
              </a:rPr>
              <a:t>Simulation does not scale, traditional formal suffers from increased efforts and expertise </a:t>
            </a:r>
          </a:p>
        </p:txBody>
      </p:sp>
      <p:sp>
        <p:nvSpPr>
          <p:cNvPr id="16" name="Rechteck 31">
            <a:extLst>
              <a:ext uri="{FF2B5EF4-FFF2-40B4-BE49-F238E27FC236}">
                <a16:creationId xmlns:a16="http://schemas.microsoft.com/office/drawing/2014/main" id="{C5C84DC4-567E-119F-64AF-1045ED4B2C89}"/>
              </a:ext>
            </a:extLst>
          </p:cNvPr>
          <p:cNvSpPr/>
          <p:nvPr/>
        </p:nvSpPr>
        <p:spPr bwMode="gray">
          <a:xfrm>
            <a:off x="9193830" y="4755863"/>
            <a:ext cx="2518688" cy="1086493"/>
          </a:xfrm>
          <a:prstGeom prst="rect">
            <a:avLst/>
          </a:prstGeom>
          <a:solidFill>
            <a:srgbClr val="F3F3F0">
              <a:alpha val="94000"/>
            </a:srgbClr>
          </a:solidFill>
          <a:ln w="19050">
            <a:solidFill>
              <a:srgbClr val="CCCCD4"/>
            </a:solidFill>
            <a:miter lim="800000"/>
          </a:ln>
          <a:effectLst/>
        </p:spPr>
        <p:txBody>
          <a:bodyPr wrap="square" lIns="27432" tIns="72000" rIns="27432" bIns="108000" numCol="1" spcCol="72000" rtlCol="0" anchor="b" anchorCtr="0">
            <a:spAutoFit/>
          </a:bodyPr>
          <a:lstStyle/>
          <a:p>
            <a:pPr algn="r">
              <a:defRPr/>
            </a:pPr>
            <a:r>
              <a:rPr lang="en-US" altLang="de-DE" sz="1599" b="1">
                <a:solidFill>
                  <a:schemeClr val="accent1"/>
                </a:solidFill>
                <a:ea typeface="Arial Unicode MS"/>
              </a:rPr>
              <a:t>Difficulty</a:t>
            </a:r>
          </a:p>
          <a:p>
            <a:pPr algn="r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00000"/>
            </a:pPr>
            <a:r>
              <a:rPr lang="en-US" sz="1400">
                <a:solidFill>
                  <a:srgbClr val="66667E"/>
                </a:solidFill>
                <a:latin typeface="+mn-lt"/>
              </a:rPr>
              <a:t>High</a:t>
            </a:r>
            <a:r>
              <a:rPr lang="en-US" sz="1400">
                <a:solidFill>
                  <a:srgbClr val="66667E"/>
                </a:solidFill>
              </a:rPr>
              <a:t>ly complex and convoluted nature of designs rule out ex</a:t>
            </a:r>
            <a:r>
              <a:rPr lang="en-US" sz="1400">
                <a:solidFill>
                  <a:srgbClr val="66667E"/>
                </a:solidFill>
                <a:latin typeface="+mn-lt"/>
              </a:rPr>
              <a:t>pert inspection of paths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39FCC1CF-AAA2-7807-7748-B3D62C0A063B}"/>
              </a:ext>
            </a:extLst>
          </p:cNvPr>
          <p:cNvGrpSpPr/>
          <p:nvPr/>
        </p:nvGrpSpPr>
        <p:grpSpPr>
          <a:xfrm>
            <a:off x="3932099" y="1745405"/>
            <a:ext cx="4104000" cy="4104000"/>
            <a:chOff x="4057537" y="1759244"/>
            <a:chExt cx="4097505" cy="4098849"/>
          </a:xfrm>
        </p:grpSpPr>
        <p:sp>
          <p:nvSpPr>
            <p:cNvPr id="18" name="Freeform 64">
              <a:extLst>
                <a:ext uri="{FF2B5EF4-FFF2-40B4-BE49-F238E27FC236}">
                  <a16:creationId xmlns:a16="http://schemas.microsoft.com/office/drawing/2014/main" id="{54E6B6CB-D82F-3C8A-BC97-D2B3B93B29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8838" y="4545113"/>
              <a:ext cx="2133557" cy="1312980"/>
            </a:xfrm>
            <a:custGeom>
              <a:avLst/>
              <a:gdLst>
                <a:gd name="connsiteX0" fmla="*/ 1490207 w 2134668"/>
                <a:gd name="connsiteY0" fmla="*/ 0 h 1313664"/>
                <a:gd name="connsiteX1" fmla="*/ 2134668 w 2134668"/>
                <a:gd name="connsiteY1" fmla="*/ 1014585 h 1313664"/>
                <a:gd name="connsiteX2" fmla="*/ 1065840 w 2134668"/>
                <a:gd name="connsiteY2" fmla="*/ 1313664 h 1313664"/>
                <a:gd name="connsiteX3" fmla="*/ 0 w 2134668"/>
                <a:gd name="connsiteY3" fmla="*/ 1014585 h 1313664"/>
                <a:gd name="connsiteX4" fmla="*/ 640133 w 2134668"/>
                <a:gd name="connsiteY4" fmla="*/ 5516 h 1313664"/>
                <a:gd name="connsiteX5" fmla="*/ 726652 w 2134668"/>
                <a:gd name="connsiteY5" fmla="*/ 52477 h 1313664"/>
                <a:gd name="connsiteX6" fmla="*/ 1060088 w 2134668"/>
                <a:gd name="connsiteY6" fmla="*/ 119795 h 1313664"/>
                <a:gd name="connsiteX7" fmla="*/ 1393525 w 2134668"/>
                <a:gd name="connsiteY7" fmla="*/ 52477 h 1313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34668" h="1313664">
                  <a:moveTo>
                    <a:pt x="1490207" y="0"/>
                  </a:moveTo>
                  <a:lnTo>
                    <a:pt x="2134668" y="1014585"/>
                  </a:lnTo>
                  <a:cubicBezTo>
                    <a:pt x="1822793" y="1205514"/>
                    <a:pt x="1457125" y="1313664"/>
                    <a:pt x="1065840" y="1313664"/>
                  </a:cubicBezTo>
                  <a:cubicBezTo>
                    <a:pt x="674342" y="1313664"/>
                    <a:pt x="308673" y="1205514"/>
                    <a:pt x="0" y="1014585"/>
                  </a:cubicBezTo>
                  <a:lnTo>
                    <a:pt x="640133" y="5516"/>
                  </a:lnTo>
                  <a:lnTo>
                    <a:pt x="726652" y="52477"/>
                  </a:lnTo>
                  <a:cubicBezTo>
                    <a:pt x="829137" y="95825"/>
                    <a:pt x="941813" y="119795"/>
                    <a:pt x="1060088" y="119795"/>
                  </a:cubicBezTo>
                  <a:cubicBezTo>
                    <a:pt x="1178363" y="119795"/>
                    <a:pt x="1291040" y="95825"/>
                    <a:pt x="1393525" y="52477"/>
                  </a:cubicBezTo>
                  <a:close/>
                </a:path>
              </a:pathLst>
            </a:custGeom>
            <a:solidFill>
              <a:srgbClr val="F3F3F0">
                <a:alpha val="90000"/>
              </a:srgbClr>
            </a:solidFill>
            <a:ln w="19050">
              <a:solidFill>
                <a:schemeClr val="accent1"/>
              </a:solidFill>
              <a:miter lim="800000"/>
            </a:ln>
            <a:effectLst/>
          </p:spPr>
          <p:txBody>
            <a:bodyPr wrap="square" lIns="143925" tIns="143925" rIns="143925" bIns="71963" rtlCol="0" anchor="ctr">
              <a:noAutofit/>
            </a:bodyPr>
            <a:lstStyle/>
            <a:p>
              <a:pPr marL="0" lvl="1" indent="0" algn="ctr" eaLnBrk="0" hangingPunct="0">
                <a:lnSpc>
                  <a:spcPct val="90000"/>
                </a:lnSpc>
                <a:buNone/>
              </a:pPr>
              <a:r>
                <a:rPr lang="en-US" sz="1300" b="1" dirty="0">
                  <a:solidFill>
                    <a:srgbClr val="333353"/>
                  </a:solidFill>
                </a:rPr>
                <a:t>Complexity</a:t>
              </a:r>
            </a:p>
          </p:txBody>
        </p:sp>
        <p:sp>
          <p:nvSpPr>
            <p:cNvPr id="19" name="Freeform 66">
              <a:extLst>
                <a:ext uri="{FF2B5EF4-FFF2-40B4-BE49-F238E27FC236}">
                  <a16:creationId xmlns:a16="http://schemas.microsoft.com/office/drawing/2014/main" id="{24650E03-BFD9-3FF9-65C1-11628C1AE1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7538" y="3845685"/>
              <a:ext cx="1555413" cy="1671847"/>
            </a:xfrm>
            <a:custGeom>
              <a:avLst/>
              <a:gdLst>
                <a:gd name="connsiteX0" fmla="*/ 0 w 1556223"/>
                <a:gd name="connsiteY0" fmla="*/ 0 h 1672718"/>
                <a:gd name="connsiteX1" fmla="*/ 1187147 w 1556223"/>
                <a:gd name="connsiteY1" fmla="*/ 0 h 1672718"/>
                <a:gd name="connsiteX2" fmla="*/ 1189700 w 1556223"/>
                <a:gd name="connsiteY2" fmla="*/ 50549 h 1672718"/>
                <a:gd name="connsiteX3" fmla="*/ 1436177 w 1556223"/>
                <a:gd name="connsiteY3" fmla="*/ 568689 h 1672718"/>
                <a:gd name="connsiteX4" fmla="*/ 1556223 w 1556223"/>
                <a:gd name="connsiteY4" fmla="*/ 667736 h 1672718"/>
                <a:gd name="connsiteX5" fmla="*/ 915933 w 1556223"/>
                <a:gd name="connsiteY5" fmla="*/ 1672718 h 1672718"/>
                <a:gd name="connsiteX6" fmla="*/ 0 w 1556223"/>
                <a:gd name="connsiteY6" fmla="*/ 0 h 1672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56223" h="1672718">
                  <a:moveTo>
                    <a:pt x="0" y="0"/>
                  </a:moveTo>
                  <a:lnTo>
                    <a:pt x="1187147" y="0"/>
                  </a:lnTo>
                  <a:lnTo>
                    <a:pt x="1189700" y="50549"/>
                  </a:lnTo>
                  <a:cubicBezTo>
                    <a:pt x="1210172" y="252129"/>
                    <a:pt x="1300536" y="433048"/>
                    <a:pt x="1436177" y="568689"/>
                  </a:cubicBezTo>
                  <a:lnTo>
                    <a:pt x="1556223" y="667736"/>
                  </a:lnTo>
                  <a:lnTo>
                    <a:pt x="915933" y="1672718"/>
                  </a:lnTo>
                  <a:cubicBezTo>
                    <a:pt x="372108" y="1313418"/>
                    <a:pt x="12778" y="699698"/>
                    <a:pt x="0" y="0"/>
                  </a:cubicBezTo>
                  <a:close/>
                </a:path>
              </a:pathLst>
            </a:custGeom>
            <a:solidFill>
              <a:srgbClr val="F3F3F0">
                <a:alpha val="90000"/>
              </a:srgbClr>
            </a:solidFill>
            <a:ln w="19050">
              <a:solidFill>
                <a:schemeClr val="accent1"/>
              </a:solidFill>
              <a:miter lim="800000"/>
            </a:ln>
            <a:effectLst/>
          </p:spPr>
          <p:txBody>
            <a:bodyPr wrap="square" lIns="143925" tIns="143925" rIns="143925" bIns="359813" rtlCol="0" anchor="ctr">
              <a:noAutofit/>
            </a:bodyPr>
            <a:lstStyle/>
            <a:p>
              <a:pPr marL="0" lvl="1" indent="0" algn="ctr" eaLnBrk="0" hangingPunct="0">
                <a:lnSpc>
                  <a:spcPct val="90000"/>
                </a:lnSpc>
                <a:buNone/>
              </a:pPr>
              <a:r>
                <a:rPr lang="en-US" sz="1300" b="1">
                  <a:solidFill>
                    <a:srgbClr val="333353"/>
                  </a:solidFill>
                </a:rPr>
                <a:t>Data inversion</a:t>
              </a:r>
            </a:p>
          </p:txBody>
        </p:sp>
        <p:sp>
          <p:nvSpPr>
            <p:cNvPr id="20" name="Freeform 69">
              <a:extLst>
                <a:ext uri="{FF2B5EF4-FFF2-40B4-BE49-F238E27FC236}">
                  <a16:creationId xmlns:a16="http://schemas.microsoft.com/office/drawing/2014/main" id="{D0390AFF-E901-D53D-1C9E-1AD86F5A1A6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7537" y="2093205"/>
              <a:ext cx="1555694" cy="1669155"/>
            </a:xfrm>
            <a:custGeom>
              <a:avLst/>
              <a:gdLst>
                <a:gd name="connsiteX0" fmla="*/ 916218 w 1556504"/>
                <a:gd name="connsiteY0" fmla="*/ 0 h 1670024"/>
                <a:gd name="connsiteX1" fmla="*/ 1556504 w 1556504"/>
                <a:gd name="connsiteY1" fmla="*/ 1004752 h 1670024"/>
                <a:gd name="connsiteX2" fmla="*/ 1436177 w 1556504"/>
                <a:gd name="connsiteY2" fmla="*/ 1104031 h 1670024"/>
                <a:gd name="connsiteX3" fmla="*/ 1189700 w 1556504"/>
                <a:gd name="connsiteY3" fmla="*/ 1622170 h 1670024"/>
                <a:gd name="connsiteX4" fmla="*/ 1187284 w 1556504"/>
                <a:gd name="connsiteY4" fmla="*/ 1670024 h 1670024"/>
                <a:gd name="connsiteX5" fmla="*/ 0 w 1556504"/>
                <a:gd name="connsiteY5" fmla="*/ 1670024 h 1670024"/>
                <a:gd name="connsiteX6" fmla="*/ 916218 w 1556504"/>
                <a:gd name="connsiteY6" fmla="*/ 0 h 1670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56504" h="1670024">
                  <a:moveTo>
                    <a:pt x="916218" y="0"/>
                  </a:moveTo>
                  <a:lnTo>
                    <a:pt x="1556504" y="1004752"/>
                  </a:lnTo>
                  <a:lnTo>
                    <a:pt x="1436177" y="1104031"/>
                  </a:lnTo>
                  <a:cubicBezTo>
                    <a:pt x="1300536" y="1239672"/>
                    <a:pt x="1210172" y="1420590"/>
                    <a:pt x="1189700" y="1622170"/>
                  </a:cubicBezTo>
                  <a:lnTo>
                    <a:pt x="1187284" y="1670024"/>
                  </a:lnTo>
                  <a:lnTo>
                    <a:pt x="0" y="1670024"/>
                  </a:lnTo>
                  <a:cubicBezTo>
                    <a:pt x="12756" y="973457"/>
                    <a:pt x="375354" y="362562"/>
                    <a:pt x="916218" y="0"/>
                  </a:cubicBezTo>
                  <a:close/>
                </a:path>
              </a:pathLst>
            </a:custGeom>
            <a:solidFill>
              <a:srgbClr val="F3F3F0">
                <a:alpha val="90000"/>
              </a:srgbClr>
            </a:solidFill>
            <a:ln w="19050">
              <a:solidFill>
                <a:schemeClr val="accent1"/>
              </a:solidFill>
              <a:miter lim="800000"/>
            </a:ln>
            <a:effectLst/>
          </p:spPr>
          <p:txBody>
            <a:bodyPr wrap="square" lIns="71963" tIns="647663" rIns="71963" bIns="143925" rtlCol="0" anchor="ctr">
              <a:noAutofit/>
            </a:bodyPr>
            <a:lstStyle/>
            <a:p>
              <a:pPr marL="0" lvl="1" indent="0" algn="ctr" eaLnBrk="0" hangingPunct="0">
                <a:lnSpc>
                  <a:spcPct val="90000"/>
                </a:lnSpc>
                <a:buNone/>
              </a:pPr>
              <a:r>
                <a:rPr lang="en-US" sz="1300" b="1">
                  <a:solidFill>
                    <a:srgbClr val="333353"/>
                  </a:solidFill>
                </a:rPr>
                <a:t>Data     corruption</a:t>
              </a:r>
            </a:p>
          </p:txBody>
        </p:sp>
        <p:sp>
          <p:nvSpPr>
            <p:cNvPr id="21" name="Freeform 55">
              <a:extLst>
                <a:ext uri="{FF2B5EF4-FFF2-40B4-BE49-F238E27FC236}">
                  <a16:creationId xmlns:a16="http://schemas.microsoft.com/office/drawing/2014/main" id="{E731EEB5-6D3B-09B6-FFE4-2225FF12D71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8838" y="1759244"/>
              <a:ext cx="2133557" cy="1318166"/>
            </a:xfrm>
            <a:custGeom>
              <a:avLst/>
              <a:gdLst>
                <a:gd name="connsiteX0" fmla="*/ 1065840 w 2134668"/>
                <a:gd name="connsiteY0" fmla="*/ 0 h 1318853"/>
                <a:gd name="connsiteX1" fmla="*/ 2134668 w 2134668"/>
                <a:gd name="connsiteY1" fmla="*/ 302218 h 1318853"/>
                <a:gd name="connsiteX2" fmla="*/ 1502196 w 2134668"/>
                <a:gd name="connsiteY2" fmla="*/ 1315591 h 1318853"/>
                <a:gd name="connsiteX3" fmla="*/ 1499768 w 2134668"/>
                <a:gd name="connsiteY3" fmla="*/ 1318853 h 1318853"/>
                <a:gd name="connsiteX4" fmla="*/ 1393525 w 2134668"/>
                <a:gd name="connsiteY4" fmla="*/ 1261186 h 1318853"/>
                <a:gd name="connsiteX5" fmla="*/ 1060088 w 2134668"/>
                <a:gd name="connsiteY5" fmla="*/ 1193868 h 1318853"/>
                <a:gd name="connsiteX6" fmla="*/ 726652 w 2134668"/>
                <a:gd name="connsiteY6" fmla="*/ 1261186 h 1318853"/>
                <a:gd name="connsiteX7" fmla="*/ 633061 w 2134668"/>
                <a:gd name="connsiteY7" fmla="*/ 1311985 h 1318853"/>
                <a:gd name="connsiteX8" fmla="*/ 631723 w 2134668"/>
                <a:gd name="connsiteY8" fmla="*/ 1310134 h 1318853"/>
                <a:gd name="connsiteX9" fmla="*/ 0 w 2134668"/>
                <a:gd name="connsiteY9" fmla="*/ 302218 h 1318853"/>
                <a:gd name="connsiteX10" fmla="*/ 1065840 w 2134668"/>
                <a:gd name="connsiteY10" fmla="*/ 0 h 1318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34668" h="1318853">
                  <a:moveTo>
                    <a:pt x="1065840" y="0"/>
                  </a:moveTo>
                  <a:cubicBezTo>
                    <a:pt x="1457125" y="0"/>
                    <a:pt x="1822793" y="111419"/>
                    <a:pt x="2134668" y="302218"/>
                  </a:cubicBezTo>
                  <a:cubicBezTo>
                    <a:pt x="1929020" y="626276"/>
                    <a:pt x="1682349" y="1059968"/>
                    <a:pt x="1502196" y="1315591"/>
                  </a:cubicBezTo>
                  <a:lnTo>
                    <a:pt x="1499768" y="1318853"/>
                  </a:lnTo>
                  <a:lnTo>
                    <a:pt x="1393525" y="1261186"/>
                  </a:lnTo>
                  <a:cubicBezTo>
                    <a:pt x="1291040" y="1217838"/>
                    <a:pt x="1178363" y="1193868"/>
                    <a:pt x="1060088" y="1193868"/>
                  </a:cubicBezTo>
                  <a:cubicBezTo>
                    <a:pt x="941813" y="1193868"/>
                    <a:pt x="829137" y="1217838"/>
                    <a:pt x="726652" y="1261186"/>
                  </a:cubicBezTo>
                  <a:lnTo>
                    <a:pt x="633061" y="1311985"/>
                  </a:lnTo>
                  <a:lnTo>
                    <a:pt x="631723" y="1310134"/>
                  </a:lnTo>
                  <a:cubicBezTo>
                    <a:pt x="455565" y="1055262"/>
                    <a:pt x="204902" y="624673"/>
                    <a:pt x="0" y="302218"/>
                  </a:cubicBezTo>
                  <a:cubicBezTo>
                    <a:pt x="308673" y="111419"/>
                    <a:pt x="674342" y="0"/>
                    <a:pt x="1065840" y="0"/>
                  </a:cubicBezTo>
                  <a:close/>
                </a:path>
              </a:pathLst>
            </a:custGeom>
            <a:solidFill>
              <a:srgbClr val="F3F3F0">
                <a:alpha val="90000"/>
              </a:srgbClr>
            </a:solidFill>
            <a:ln w="19050">
              <a:solidFill>
                <a:schemeClr val="accent1"/>
              </a:solidFill>
              <a:miter lim="800000"/>
            </a:ln>
            <a:effectLst/>
          </p:spPr>
          <p:txBody>
            <a:bodyPr wrap="square" lIns="143925" tIns="71963" rIns="143925" bIns="71963" rtlCol="0" anchor="ctr">
              <a:noAutofit/>
            </a:bodyPr>
            <a:lstStyle/>
            <a:p>
              <a:pPr marL="0" lvl="1" indent="0" algn="ctr" eaLnBrk="0" hangingPunct="0">
                <a:lnSpc>
                  <a:spcPct val="90000"/>
                </a:lnSpc>
                <a:buNone/>
              </a:pPr>
              <a:r>
                <a:rPr lang="en-US" sz="1300" b="1" dirty="0">
                  <a:solidFill>
                    <a:srgbClr val="333353"/>
                  </a:solidFill>
                </a:rPr>
                <a:t>Data leakage</a:t>
              </a:r>
            </a:p>
          </p:txBody>
        </p:sp>
        <p:sp>
          <p:nvSpPr>
            <p:cNvPr id="22" name="Freeform 59">
              <a:extLst>
                <a:ext uri="{FF2B5EF4-FFF2-40B4-BE49-F238E27FC236}">
                  <a16:creationId xmlns:a16="http://schemas.microsoft.com/office/drawing/2014/main" id="{E66B3AC5-B2A1-5089-8085-828D8F28E59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2820" y="2099803"/>
              <a:ext cx="1562222" cy="1669155"/>
            </a:xfrm>
            <a:custGeom>
              <a:avLst/>
              <a:gdLst>
                <a:gd name="connsiteX0" fmla="*/ 643987 w 1563036"/>
                <a:gd name="connsiteY0" fmla="*/ 0 h 1670024"/>
                <a:gd name="connsiteX1" fmla="*/ 1563036 w 1563036"/>
                <a:gd name="connsiteY1" fmla="*/ 1670024 h 1670024"/>
                <a:gd name="connsiteX2" fmla="*/ 359915 w 1563036"/>
                <a:gd name="connsiteY2" fmla="*/ 1670024 h 1670024"/>
                <a:gd name="connsiteX3" fmla="*/ 357499 w 1563036"/>
                <a:gd name="connsiteY3" fmla="*/ 1622170 h 1670024"/>
                <a:gd name="connsiteX4" fmla="*/ 344518 w 1563036"/>
                <a:gd name="connsiteY4" fmla="*/ 1537116 h 1670024"/>
                <a:gd name="connsiteX5" fmla="*/ 299371 w 1563036"/>
                <a:gd name="connsiteY5" fmla="*/ 1391677 h 1670024"/>
                <a:gd name="connsiteX6" fmla="*/ 299976 w 1563036"/>
                <a:gd name="connsiteY6" fmla="*/ 1387433 h 1670024"/>
                <a:gd name="connsiteX7" fmla="*/ 297581 w 1563036"/>
                <a:gd name="connsiteY7" fmla="*/ 1385911 h 1670024"/>
                <a:gd name="connsiteX8" fmla="*/ 294603 w 1563036"/>
                <a:gd name="connsiteY8" fmla="*/ 1376319 h 1670024"/>
                <a:gd name="connsiteX9" fmla="*/ 111022 w 1563036"/>
                <a:gd name="connsiteY9" fmla="*/ 1104031 h 1670024"/>
                <a:gd name="connsiteX10" fmla="*/ 0 w 1563036"/>
                <a:gd name="connsiteY10" fmla="*/ 1012429 h 16700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63036" h="1670024">
                  <a:moveTo>
                    <a:pt x="643987" y="0"/>
                  </a:moveTo>
                  <a:cubicBezTo>
                    <a:pt x="1187812" y="362562"/>
                    <a:pt x="1547142" y="973457"/>
                    <a:pt x="1563036" y="1670024"/>
                  </a:cubicBezTo>
                  <a:lnTo>
                    <a:pt x="359915" y="1670024"/>
                  </a:lnTo>
                  <a:lnTo>
                    <a:pt x="357499" y="1622170"/>
                  </a:lnTo>
                  <a:cubicBezTo>
                    <a:pt x="354574" y="1593373"/>
                    <a:pt x="350223" y="1564998"/>
                    <a:pt x="344518" y="1537116"/>
                  </a:cubicBezTo>
                  <a:lnTo>
                    <a:pt x="299371" y="1391677"/>
                  </a:lnTo>
                  <a:lnTo>
                    <a:pt x="299976" y="1387433"/>
                  </a:lnTo>
                  <a:lnTo>
                    <a:pt x="297581" y="1385911"/>
                  </a:lnTo>
                  <a:lnTo>
                    <a:pt x="294603" y="1376319"/>
                  </a:lnTo>
                  <a:cubicBezTo>
                    <a:pt x="251256" y="1273834"/>
                    <a:pt x="188531" y="1181540"/>
                    <a:pt x="111022" y="1104031"/>
                  </a:cubicBezTo>
                  <a:lnTo>
                    <a:pt x="0" y="1012429"/>
                  </a:lnTo>
                  <a:close/>
                </a:path>
              </a:pathLst>
            </a:custGeom>
            <a:solidFill>
              <a:srgbClr val="F3F3F0">
                <a:alpha val="90000"/>
              </a:srgbClr>
            </a:solidFill>
            <a:ln w="19050">
              <a:solidFill>
                <a:schemeClr val="accent1"/>
              </a:solidFill>
              <a:miter lim="800000"/>
            </a:ln>
            <a:effectLst/>
          </p:spPr>
          <p:txBody>
            <a:bodyPr wrap="square" lIns="71963" tIns="647663" rIns="71963" bIns="143925" rtlCol="0" anchor="ctr">
              <a:noAutofit/>
            </a:bodyPr>
            <a:lstStyle/>
            <a:p>
              <a:pPr marL="0" lvl="1" indent="0" algn="ctr" eaLnBrk="0" hangingPunct="0">
                <a:lnSpc>
                  <a:spcPct val="90000"/>
                </a:lnSpc>
                <a:buNone/>
              </a:pPr>
              <a:r>
                <a:rPr lang="en-US" sz="1300" b="1">
                  <a:solidFill>
                    <a:srgbClr val="333353"/>
                  </a:solidFill>
                </a:rPr>
                <a:t>Control compromise</a:t>
              </a:r>
            </a:p>
          </p:txBody>
        </p:sp>
        <p:sp>
          <p:nvSpPr>
            <p:cNvPr id="23" name="Freeform 62">
              <a:extLst>
                <a:ext uri="{FF2B5EF4-FFF2-40B4-BE49-F238E27FC236}">
                  <a16:creationId xmlns:a16="http://schemas.microsoft.com/office/drawing/2014/main" id="{DEA08883-5A74-C7DA-DD26-9E90B504C73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4191" y="3845685"/>
              <a:ext cx="1560851" cy="1671847"/>
            </a:xfrm>
            <a:custGeom>
              <a:avLst/>
              <a:gdLst>
                <a:gd name="connsiteX0" fmla="*/ 358680 w 1561664"/>
                <a:gd name="connsiteY0" fmla="*/ 0 h 1672718"/>
                <a:gd name="connsiteX1" fmla="*/ 1561664 w 1561664"/>
                <a:gd name="connsiteY1" fmla="*/ 0 h 1672718"/>
                <a:gd name="connsiteX2" fmla="*/ 642614 w 1561664"/>
                <a:gd name="connsiteY2" fmla="*/ 1672718 h 1672718"/>
                <a:gd name="connsiteX3" fmla="*/ 3424 w 1561664"/>
                <a:gd name="connsiteY3" fmla="*/ 664571 h 1672718"/>
                <a:gd name="connsiteX4" fmla="*/ 0 w 1561664"/>
                <a:gd name="connsiteY4" fmla="*/ 659159 h 1672718"/>
                <a:gd name="connsiteX5" fmla="*/ 109651 w 1561664"/>
                <a:gd name="connsiteY5" fmla="*/ 568689 h 1672718"/>
                <a:gd name="connsiteX6" fmla="*/ 356128 w 1561664"/>
                <a:gd name="connsiteY6" fmla="*/ 50549 h 1672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1664" h="1672718">
                  <a:moveTo>
                    <a:pt x="358680" y="0"/>
                  </a:moveTo>
                  <a:lnTo>
                    <a:pt x="1561664" y="0"/>
                  </a:lnTo>
                  <a:cubicBezTo>
                    <a:pt x="1548887" y="699698"/>
                    <a:pt x="1186440" y="1313418"/>
                    <a:pt x="642614" y="1672718"/>
                  </a:cubicBezTo>
                  <a:lnTo>
                    <a:pt x="3424" y="664571"/>
                  </a:lnTo>
                  <a:lnTo>
                    <a:pt x="0" y="659159"/>
                  </a:lnTo>
                  <a:lnTo>
                    <a:pt x="109651" y="568689"/>
                  </a:lnTo>
                  <a:cubicBezTo>
                    <a:pt x="245292" y="433048"/>
                    <a:pt x="335656" y="252129"/>
                    <a:pt x="356128" y="50549"/>
                  </a:cubicBezTo>
                  <a:close/>
                </a:path>
              </a:pathLst>
            </a:custGeom>
            <a:solidFill>
              <a:srgbClr val="F3F3F0">
                <a:alpha val="90000"/>
              </a:srgbClr>
            </a:solidFill>
            <a:ln w="19050">
              <a:solidFill>
                <a:schemeClr val="accent1"/>
              </a:solidFill>
              <a:miter lim="800000"/>
            </a:ln>
            <a:effectLst/>
          </p:spPr>
          <p:txBody>
            <a:bodyPr wrap="square" lIns="143925" tIns="143925" rIns="143925" bIns="359813" rtlCol="0" anchor="ctr" anchorCtr="0">
              <a:noAutofit/>
            </a:bodyPr>
            <a:lstStyle/>
            <a:p>
              <a:pPr marL="0" lvl="1" indent="0" algn="ctr" eaLnBrk="0" hangingPunct="0">
                <a:lnSpc>
                  <a:spcPct val="90000"/>
                </a:lnSpc>
                <a:buNone/>
              </a:pPr>
              <a:r>
                <a:rPr lang="en-US" sz="1300" b="1">
                  <a:solidFill>
                    <a:srgbClr val="333353"/>
                  </a:solidFill>
                </a:rPr>
                <a:t>Methodology</a:t>
              </a:r>
            </a:p>
          </p:txBody>
        </p:sp>
        <p:sp>
          <p:nvSpPr>
            <p:cNvPr id="24" name="Freeform 48">
              <a:extLst>
                <a:ext uri="{FF2B5EF4-FFF2-40B4-BE49-F238E27FC236}">
                  <a16:creationId xmlns:a16="http://schemas.microsoft.com/office/drawing/2014/main" id="{D4FAA64D-4C44-E5B4-8B83-DF339FB45B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2197" y="2945892"/>
              <a:ext cx="1712355" cy="1712355"/>
            </a:xfrm>
            <a:prstGeom prst="ellipse">
              <a:avLst/>
            </a:prstGeom>
            <a:gradFill>
              <a:gsLst>
                <a:gs pos="0">
                  <a:srgbClr val="00AF8E"/>
                </a:gs>
                <a:gs pos="100000">
                  <a:srgbClr val="00E6DC"/>
                </a:gs>
              </a:gsLst>
              <a:lin ang="0" scaled="0"/>
            </a:gradFill>
            <a:ln w="76200">
              <a:solidFill>
                <a:schemeClr val="accent1"/>
              </a:solidFill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799" b="1">
                  <a:solidFill>
                    <a:schemeClr val="tx2"/>
                  </a:solidFill>
                </a:rPr>
                <a:t>Verifying Security Featur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404526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A59CE0-18CE-9447-F486-8403978474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err="1"/>
              <a:t>OpenTitan</a:t>
            </a:r>
            <a:endParaRPr lang="en-US" sz="28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C9A97A-7CF3-D8E2-EC21-C4CB6F9DE30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Restricted | © Siemens 2024  Siemens Digital Industries Software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CD56C0E-F1ED-B536-95E9-99561C890EF9}"/>
              </a:ext>
            </a:extLst>
          </p:cNvPr>
          <p:cNvSpPr txBox="1"/>
          <p:nvPr/>
        </p:nvSpPr>
        <p:spPr>
          <a:xfrm>
            <a:off x="783379" y="4253028"/>
            <a:ext cx="61765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en-US" dirty="0"/>
          </a:p>
        </p:txBody>
      </p:sp>
      <p:sp>
        <p:nvSpPr>
          <p:cNvPr id="29" name="Rectangle 4">
            <a:extLst>
              <a:ext uri="{FF2B5EF4-FFF2-40B4-BE49-F238E27FC236}">
                <a16:creationId xmlns:a16="http://schemas.microsoft.com/office/drawing/2014/main" id="{FDFA0DA7-E6A5-AA06-E079-65D0C1BEA6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400" y="1179029"/>
            <a:ext cx="5232411" cy="49804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285750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An open-source project aimed at creating a highly secure, transparent, and flexible Root of Trust (</a:t>
            </a:r>
            <a:r>
              <a:rPr lang="en-US" sz="1600" dirty="0" err="1"/>
              <a:t>RoT</a:t>
            </a:r>
            <a:r>
              <a:rPr lang="en-US" sz="1600" dirty="0"/>
              <a:t>) hardware design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en-US" sz="1600" dirty="0"/>
          </a:p>
          <a:p>
            <a:pPr marL="285750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The design is scalable to meet the security needs of a wide range of applications, from small IoT devices to large data center hardware.</a:t>
            </a: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kumimoji="0" lang="en-US" alt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285750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600" dirty="0">
                <a:latin typeface="Arial" panose="020B0604020202020204" pitchFamily="34" charset="0"/>
              </a:rPr>
              <a:t>Clean RTL implementation with several </a:t>
            </a:r>
            <a:endParaRPr kumimoji="0" lang="en-US" altLang="en-US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742950" lvl="1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en-US" sz="1600" dirty="0">
                <a:latin typeface="Arial" panose="020B0604020202020204" pitchFamily="34" charset="0"/>
              </a:rPr>
              <a:t>Hardware Features for Security:</a:t>
            </a:r>
          </a:p>
          <a:p>
            <a:pPr lvl="1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600" b="1" dirty="0">
                <a:latin typeface="Arial" panose="020B0604020202020204" pitchFamily="34" charset="0"/>
              </a:rPr>
              <a:t>Secure storage, Side-channel attack resistance, Secure boot, Cryptographic acceleration, Antitamper mechanisms</a:t>
            </a:r>
            <a:r>
              <a:rPr lang="en-US" altLang="en-US" sz="1600" dirty="0">
                <a:latin typeface="Arial" panose="020B0604020202020204" pitchFamily="34" charset="0"/>
              </a:rPr>
              <a:t>, etc.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8582BB0A-4E08-7F9C-0600-225D77648B4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14" t="21664" r="10533" b="12065"/>
          <a:stretch/>
        </p:blipFill>
        <p:spPr>
          <a:xfrm>
            <a:off x="5919537" y="1294904"/>
            <a:ext cx="6104020" cy="452838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1227935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A59CE0-18CE-9447-F486-8403978474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Methodology Overview</a:t>
            </a:r>
            <a:br>
              <a:rPr lang="en-US" sz="2800" dirty="0"/>
            </a:br>
            <a:r>
              <a:rPr lang="en-US" b="0" dirty="0"/>
              <a:t>Formal-based solution</a:t>
            </a:r>
            <a:endParaRPr lang="en-US" sz="1800" b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C9A97A-7CF3-D8E2-EC21-C4CB6F9DE30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Restricted | © Siemens 2024  Siemens Digital Industries Software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CD56C0E-F1ED-B536-95E9-99561C890EF9}"/>
              </a:ext>
            </a:extLst>
          </p:cNvPr>
          <p:cNvSpPr txBox="1"/>
          <p:nvPr/>
        </p:nvSpPr>
        <p:spPr>
          <a:xfrm>
            <a:off x="783379" y="4253028"/>
            <a:ext cx="61765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en-US" dirty="0"/>
          </a:p>
        </p:txBody>
      </p:sp>
      <p:sp>
        <p:nvSpPr>
          <p:cNvPr id="29" name="Rectangle 4">
            <a:extLst>
              <a:ext uri="{FF2B5EF4-FFF2-40B4-BE49-F238E27FC236}">
                <a16:creationId xmlns:a16="http://schemas.microsoft.com/office/drawing/2014/main" id="{FDFA0DA7-E6A5-AA06-E079-65D0C1BEA6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400" y="1199208"/>
            <a:ext cx="5881830" cy="4201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285750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Formal Verification</a:t>
            </a:r>
          </a:p>
          <a:p>
            <a:pPr marL="742950" lvl="1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</a:rPr>
              <a:t>Guarantees security requirements for datapaths through systematic and exhaustive analysis</a:t>
            </a:r>
          </a:p>
          <a:p>
            <a:pPr marL="742950" lvl="1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</a:rPr>
              <a:t>High degree of automation speeds up the verification process</a:t>
            </a:r>
          </a:p>
          <a:p>
            <a:pPr marL="742950" lvl="1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 sz="1600" dirty="0">
              <a:latin typeface="Arial" panose="020B0604020202020204" pitchFamily="34" charset="0"/>
            </a:endParaRPr>
          </a:p>
          <a:p>
            <a:pPr marL="285750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Formal solutions applied</a:t>
            </a:r>
          </a:p>
          <a:p>
            <a:pPr marL="742950" lvl="1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</a:rPr>
              <a:t>Questa Analyze Architecture (QAA) - For design partitioning</a:t>
            </a:r>
          </a:p>
          <a:p>
            <a:pPr marL="742950" lvl="1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</a:rPr>
              <a:t>Questa Verify Secure (QVS) - For exhaustive datapath analys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BBF5553-E67E-B1A9-41D8-402F529072B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5040" y="1695446"/>
            <a:ext cx="5246560" cy="279549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9573459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A59CE0-18CE-9447-F486-8403978474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Methodology Overview</a:t>
            </a:r>
            <a:br>
              <a:rPr lang="en-US" sz="2800" dirty="0"/>
            </a:br>
            <a:r>
              <a:rPr lang="en-US" b="0" dirty="0"/>
              <a:t>Design partitioning through architecture exploratio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C9A97A-7CF3-D8E2-EC21-C4CB6F9DE30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Restricted | © Siemens 2024  Siemens Digital Industries Software </a:t>
            </a:r>
          </a:p>
        </p:txBody>
      </p:sp>
      <p:sp>
        <p:nvSpPr>
          <p:cNvPr id="29" name="Rectangle 4">
            <a:extLst>
              <a:ext uri="{FF2B5EF4-FFF2-40B4-BE49-F238E27FC236}">
                <a16:creationId xmlns:a16="http://schemas.microsoft.com/office/drawing/2014/main" id="{FDFA0DA7-E6A5-AA06-E079-65D0C1BEA6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5230" y="1232706"/>
            <a:ext cx="6363888" cy="2678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285750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Crucial to understand/analyze the design architecture to extract the cluster of security sensitive modules</a:t>
            </a:r>
          </a:p>
          <a:p>
            <a:pPr marL="285750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Questa Analyze Architecture (QAA) enables architectural exploration</a:t>
            </a:r>
          </a:p>
          <a:p>
            <a:pPr marL="742950" lvl="1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</a:rPr>
              <a:t>Simplifies understanding of complex designs</a:t>
            </a:r>
          </a:p>
          <a:p>
            <a:pPr marL="742950" lvl="1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</a:rPr>
              <a:t>Isolates specific design instances for focused or targeted security analysis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E4A445E-D983-454B-92B8-8DF4EA99C6B5}"/>
              </a:ext>
            </a:extLst>
          </p:cNvPr>
          <p:cNvGrpSpPr/>
          <p:nvPr/>
        </p:nvGrpSpPr>
        <p:grpSpPr>
          <a:xfrm>
            <a:off x="1298845" y="4594673"/>
            <a:ext cx="9162163" cy="1716127"/>
            <a:chOff x="718815" y="4460728"/>
            <a:chExt cx="9162163" cy="1893944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10BEBDCD-414F-6EC2-AA51-438E1A45B0FE}"/>
                </a:ext>
              </a:extLst>
            </p:cNvPr>
            <p:cNvSpPr/>
            <p:nvPr/>
          </p:nvSpPr>
          <p:spPr>
            <a:xfrm>
              <a:off x="718815" y="4526889"/>
              <a:ext cx="9162163" cy="1827783"/>
            </a:xfrm>
            <a:prstGeom prst="rect">
              <a:avLst/>
            </a:prstGeom>
            <a:solidFill>
              <a:schemeClr val="accent1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en-US" dirty="0"/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29D4704-8A61-C914-C6DB-871F87A42F9E}"/>
                </a:ext>
              </a:extLst>
            </p:cNvPr>
            <p:cNvGrpSpPr/>
            <p:nvPr/>
          </p:nvGrpSpPr>
          <p:grpSpPr>
            <a:xfrm>
              <a:off x="718816" y="4673422"/>
              <a:ext cx="1863817" cy="1549959"/>
              <a:chOff x="3346019" y="4543610"/>
              <a:chExt cx="1862238" cy="1725525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679C44C2-355D-C5D9-4D19-9890626A7D33}"/>
                  </a:ext>
                </a:extLst>
              </p:cNvPr>
              <p:cNvSpPr/>
              <p:nvPr/>
            </p:nvSpPr>
            <p:spPr>
              <a:xfrm>
                <a:off x="3427198" y="4857881"/>
                <a:ext cx="1781059" cy="1411254"/>
              </a:xfrm>
              <a:prstGeom prst="rect">
                <a:avLst/>
              </a:prstGeom>
              <a:solidFill>
                <a:schemeClr val="tx1">
                  <a:lumMod val="85000"/>
                </a:schemeClr>
              </a:solidFill>
              <a:ln w="15875">
                <a:solidFill>
                  <a:srgbClr val="FF9000"/>
                </a:solidFill>
                <a:prstDash val="solid"/>
                <a:round/>
                <a:headEnd/>
                <a:tailEnd/>
              </a:ln>
            </p:spPr>
            <p:txBody>
              <a:bodyPr bIns="36000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chemeClr val="bg2"/>
                  </a:solidFill>
                </a:endParaRP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143CBD5E-82EE-EC2A-C0E9-B6B11656AD7A}"/>
                  </a:ext>
                </a:extLst>
              </p:cNvPr>
              <p:cNvSpPr txBox="1"/>
              <p:nvPr/>
            </p:nvSpPr>
            <p:spPr>
              <a:xfrm>
                <a:off x="3346019" y="4543610"/>
                <a:ext cx="1621990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1200" dirty="0"/>
                  <a:t>Large IP/SoC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2AAEA26-3030-A7F0-6235-342BB7FE598C}"/>
                </a:ext>
              </a:extLst>
            </p:cNvPr>
            <p:cNvGrpSpPr/>
            <p:nvPr/>
          </p:nvGrpSpPr>
          <p:grpSpPr>
            <a:xfrm>
              <a:off x="2967144" y="4483648"/>
              <a:ext cx="1857035" cy="1731885"/>
              <a:chOff x="2967144" y="4483648"/>
              <a:chExt cx="1857035" cy="1731885"/>
            </a:xfrm>
          </p:grpSpPr>
          <p:pic>
            <p:nvPicPr>
              <p:cNvPr id="4099" name="Picture 3">
                <a:extLst>
                  <a:ext uri="{FF2B5EF4-FFF2-40B4-BE49-F238E27FC236}">
                    <a16:creationId xmlns:a16="http://schemas.microsoft.com/office/drawing/2014/main" id="{A23732D0-4C38-8997-77DF-F387A1F5914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41610" y="4947869"/>
                <a:ext cx="1782569" cy="1267664"/>
              </a:xfrm>
              <a:prstGeom prst="rect">
                <a:avLst/>
              </a:prstGeom>
              <a:noFill/>
              <a:ln>
                <a:solidFill>
                  <a:srgbClr val="FF9000"/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9DC23357-8B69-C35A-8C1F-44579ACAD3E0}"/>
                  </a:ext>
                </a:extLst>
              </p:cNvPr>
              <p:cNvSpPr txBox="1"/>
              <p:nvPr/>
            </p:nvSpPr>
            <p:spPr>
              <a:xfrm>
                <a:off x="2967144" y="4483648"/>
                <a:ext cx="1845159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1200" dirty="0"/>
                  <a:t>Partition through</a:t>
                </a:r>
              </a:p>
              <a:p>
                <a:r>
                  <a:rPr lang="en-US" sz="1200" dirty="0"/>
                  <a:t>model creation</a:t>
                </a:r>
              </a:p>
            </p:txBody>
          </p:sp>
        </p:grpSp>
        <p:pic>
          <p:nvPicPr>
            <p:cNvPr id="4101" name="Picture 5">
              <a:extLst>
                <a:ext uri="{FF2B5EF4-FFF2-40B4-BE49-F238E27FC236}">
                  <a16:creationId xmlns:a16="http://schemas.microsoft.com/office/drawing/2014/main" id="{78DCB98A-253C-0E94-D55B-E49A868CD9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99856" y="4941420"/>
              <a:ext cx="1782569" cy="1280563"/>
            </a:xfrm>
            <a:prstGeom prst="rect">
              <a:avLst/>
            </a:prstGeom>
            <a:noFill/>
            <a:ln>
              <a:solidFill>
                <a:srgbClr val="FF9000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03" name="Picture 7">
              <a:extLst>
                <a:ext uri="{FF2B5EF4-FFF2-40B4-BE49-F238E27FC236}">
                  <a16:creationId xmlns:a16="http://schemas.microsoft.com/office/drawing/2014/main" id="{334BC101-18B6-7DD0-E20A-4FBBA99FABF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69978" y="4955717"/>
              <a:ext cx="1782569" cy="1288609"/>
            </a:xfrm>
            <a:prstGeom prst="rect">
              <a:avLst/>
            </a:prstGeom>
            <a:noFill/>
            <a:ln>
              <a:solidFill>
                <a:srgbClr val="FF9000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D2729D3-209F-06C2-D7BD-A8F26F2B9195}"/>
                </a:ext>
              </a:extLst>
            </p:cNvPr>
            <p:cNvSpPr txBox="1"/>
            <p:nvPr/>
          </p:nvSpPr>
          <p:spPr>
            <a:xfrm>
              <a:off x="5437266" y="4460728"/>
              <a:ext cx="1845159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200" dirty="0"/>
                <a:t>Structural verification of the model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676CAEEA-947D-67DE-164D-54A8CFE35E01}"/>
                </a:ext>
              </a:extLst>
            </p:cNvPr>
            <p:cNvSpPr txBox="1"/>
            <p:nvPr/>
          </p:nvSpPr>
          <p:spPr>
            <a:xfrm>
              <a:off x="7859071" y="4476116"/>
              <a:ext cx="1845159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200" dirty="0"/>
                <a:t>Functional verification of the model</a:t>
              </a:r>
            </a:p>
          </p:txBody>
        </p: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522721DC-40B7-487B-10F8-2E09DD60C860}"/>
                </a:ext>
              </a:extLst>
            </p:cNvPr>
            <p:cNvCxnSpPr>
              <a:cxnSpLocks/>
            </p:cNvCxnSpPr>
            <p:nvPr/>
          </p:nvCxnSpPr>
          <p:spPr>
            <a:xfrm>
              <a:off x="2668137" y="5589549"/>
              <a:ext cx="299007" cy="0"/>
            </a:xfrm>
            <a:prstGeom prst="straightConnector1">
              <a:avLst/>
            </a:prstGeom>
            <a:ln w="38100" cmpd="dbl">
              <a:solidFill>
                <a:srgbClr val="FF9000"/>
              </a:solidFill>
              <a:headEnd w="lg" len="lg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8CEBD859-C83C-2427-0E59-CB48E690F1D7}"/>
                </a:ext>
              </a:extLst>
            </p:cNvPr>
            <p:cNvCxnSpPr>
              <a:cxnSpLocks/>
            </p:cNvCxnSpPr>
            <p:nvPr/>
          </p:nvCxnSpPr>
          <p:spPr>
            <a:xfrm>
              <a:off x="4983707" y="5600021"/>
              <a:ext cx="299007" cy="0"/>
            </a:xfrm>
            <a:prstGeom prst="straightConnector1">
              <a:avLst/>
            </a:prstGeom>
            <a:ln w="38100" cmpd="dbl">
              <a:solidFill>
                <a:srgbClr val="FF9000"/>
              </a:solidFill>
              <a:headEnd w="lg" len="lg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C255B009-D917-DF9E-9D5D-AF7C9862A0D6}"/>
                </a:ext>
              </a:extLst>
            </p:cNvPr>
            <p:cNvCxnSpPr>
              <a:cxnSpLocks/>
            </p:cNvCxnSpPr>
            <p:nvPr/>
          </p:nvCxnSpPr>
          <p:spPr>
            <a:xfrm>
              <a:off x="7469874" y="5589549"/>
              <a:ext cx="299007" cy="0"/>
            </a:xfrm>
            <a:prstGeom prst="straightConnector1">
              <a:avLst/>
            </a:prstGeom>
            <a:ln w="38100" cmpd="dbl">
              <a:solidFill>
                <a:srgbClr val="FF9000"/>
              </a:solidFill>
              <a:headEnd w="lg" len="lg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1" name="Picture 30">
            <a:extLst>
              <a:ext uri="{FF2B5EF4-FFF2-40B4-BE49-F238E27FC236}">
                <a16:creationId xmlns:a16="http://schemas.microsoft.com/office/drawing/2014/main" id="{64F8B87D-9540-6C1B-00D9-67DD81E7635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5040" y="1695446"/>
            <a:ext cx="5246560" cy="2795496"/>
          </a:xfrm>
          <a:prstGeom prst="rect">
            <a:avLst/>
          </a:prstGeom>
          <a:noFill/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C803E759-3AFE-3652-12CF-ED98E3835393}"/>
              </a:ext>
            </a:extLst>
          </p:cNvPr>
          <p:cNvGrpSpPr/>
          <p:nvPr/>
        </p:nvGrpSpPr>
        <p:grpSpPr>
          <a:xfrm>
            <a:off x="8439101" y="1187466"/>
            <a:ext cx="2279561" cy="1848118"/>
            <a:chOff x="8564450" y="1111312"/>
            <a:chExt cx="2279561" cy="1848118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1BBA389D-4B69-3360-B597-9DF3FB53F29E}"/>
                </a:ext>
              </a:extLst>
            </p:cNvPr>
            <p:cNvSpPr/>
            <p:nvPr/>
          </p:nvSpPr>
          <p:spPr>
            <a:xfrm>
              <a:off x="8564450" y="1111312"/>
              <a:ext cx="2279561" cy="1848118"/>
            </a:xfrm>
            <a:prstGeom prst="ellipse">
              <a:avLst/>
            </a:prstGeom>
            <a:solidFill>
              <a:schemeClr val="accent1">
                <a:alpha val="42000"/>
              </a:schemeClr>
            </a:solidFill>
            <a:ln>
              <a:solidFill>
                <a:srgbClr val="FFD73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en-US" dirty="0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22210724-4829-C6FA-8755-ABDC58B3B94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6469" t="1" r="29781" b="71601"/>
            <a:stretch/>
          </p:blipFill>
          <p:spPr bwMode="auto">
            <a:xfrm>
              <a:off x="8886422" y="1475761"/>
              <a:ext cx="1732250" cy="1103665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38652483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A59CE0-18CE-9447-F486-8403978474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Methodology Overview</a:t>
            </a:r>
            <a:br>
              <a:rPr lang="en-US" sz="2800" dirty="0"/>
            </a:br>
            <a:r>
              <a:rPr lang="en-US" b="0" dirty="0"/>
              <a:t>Datapath specification</a:t>
            </a:r>
            <a:endParaRPr lang="en-US" sz="28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C9A97A-7CF3-D8E2-EC21-C4CB6F9DE30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Restricted | © Siemens 2024  Siemens Digital Industries Software 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35E418DA-ECE1-0C0D-9341-56F1B217AFD4}"/>
              </a:ext>
            </a:extLst>
          </p:cNvPr>
          <p:cNvSpPr/>
          <p:nvPr/>
        </p:nvSpPr>
        <p:spPr>
          <a:xfrm>
            <a:off x="798872" y="2120161"/>
            <a:ext cx="3750580" cy="2792487"/>
          </a:xfrm>
          <a:prstGeom prst="roundRect">
            <a:avLst>
              <a:gd name="adj" fmla="val 0"/>
            </a:avLst>
          </a:prstGeom>
          <a:solidFill>
            <a:srgbClr val="CCCCD4"/>
          </a:solidFill>
          <a:ln w="12700">
            <a:solidFill>
              <a:srgbClr val="9999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chemeClr val="bg2"/>
                </a:solidFill>
              </a:rPr>
              <a:t>DUV</a:t>
            </a:r>
          </a:p>
          <a:p>
            <a:pPr algn="ctr"/>
            <a:endParaRPr lang="en-US" sz="1100" b="1" dirty="0">
              <a:solidFill>
                <a:schemeClr val="bg2"/>
              </a:solidFill>
            </a:endParaRPr>
          </a:p>
          <a:p>
            <a:pPr algn="ctr"/>
            <a:endParaRPr lang="en-US" sz="1100" b="1" dirty="0">
              <a:solidFill>
                <a:schemeClr val="bg2"/>
              </a:solidFill>
            </a:endParaRPr>
          </a:p>
          <a:p>
            <a:pPr algn="ctr"/>
            <a:endParaRPr lang="en-US" sz="1100" b="1" dirty="0">
              <a:solidFill>
                <a:schemeClr val="bg2"/>
              </a:solidFill>
            </a:endParaRPr>
          </a:p>
          <a:p>
            <a:pPr algn="ctr"/>
            <a:endParaRPr lang="en-US" sz="1100" b="1" dirty="0">
              <a:solidFill>
                <a:schemeClr val="bg2"/>
              </a:solidFill>
            </a:endParaRPr>
          </a:p>
          <a:p>
            <a:pPr algn="ctr"/>
            <a:endParaRPr lang="en-US" sz="1100" b="1" dirty="0">
              <a:solidFill>
                <a:schemeClr val="bg2"/>
              </a:solidFill>
            </a:endParaRPr>
          </a:p>
          <a:p>
            <a:pPr algn="ctr"/>
            <a:endParaRPr lang="en-US" sz="1100" b="1" dirty="0">
              <a:solidFill>
                <a:schemeClr val="bg2"/>
              </a:solidFill>
            </a:endParaRPr>
          </a:p>
          <a:p>
            <a:pPr algn="ctr"/>
            <a:endParaRPr lang="en-US" sz="1100" b="1" dirty="0">
              <a:solidFill>
                <a:schemeClr val="bg2"/>
              </a:solidFill>
            </a:endParaRPr>
          </a:p>
          <a:p>
            <a:pPr algn="ctr"/>
            <a:endParaRPr lang="en-US" sz="1100" b="1" dirty="0">
              <a:solidFill>
                <a:schemeClr val="bg2"/>
              </a:solidFill>
            </a:endParaRPr>
          </a:p>
          <a:p>
            <a:pPr algn="ctr"/>
            <a:endParaRPr lang="en-US" sz="1100" b="1" dirty="0">
              <a:solidFill>
                <a:schemeClr val="bg2"/>
              </a:solidFill>
            </a:endParaRPr>
          </a:p>
          <a:p>
            <a:pPr algn="ctr"/>
            <a:endParaRPr lang="en-US" sz="1100" b="1" dirty="0">
              <a:solidFill>
                <a:schemeClr val="bg2"/>
              </a:solidFill>
            </a:endParaRPr>
          </a:p>
          <a:p>
            <a:pPr algn="ctr"/>
            <a:endParaRPr lang="en-US" sz="1100" b="1" dirty="0">
              <a:solidFill>
                <a:schemeClr val="bg2"/>
              </a:solidFill>
            </a:endParaRPr>
          </a:p>
          <a:p>
            <a:pPr algn="ctr"/>
            <a:endParaRPr lang="en-US" sz="1100" b="1" dirty="0">
              <a:solidFill>
                <a:schemeClr val="bg2"/>
              </a:solidFill>
            </a:endParaRPr>
          </a:p>
          <a:p>
            <a:pPr algn="ctr"/>
            <a:endParaRPr lang="en-US" sz="1100" b="1" dirty="0">
              <a:solidFill>
                <a:schemeClr val="bg2"/>
              </a:solidFill>
            </a:endParaRPr>
          </a:p>
          <a:p>
            <a:pPr algn="ctr"/>
            <a:endParaRPr lang="en-US" sz="1100" b="1" dirty="0">
              <a:solidFill>
                <a:schemeClr val="bg2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89A48560-3AFB-132B-2706-A660511A1FB0}"/>
              </a:ext>
            </a:extLst>
          </p:cNvPr>
          <p:cNvSpPr/>
          <p:nvPr/>
        </p:nvSpPr>
        <p:spPr>
          <a:xfrm>
            <a:off x="1984560" y="3736186"/>
            <a:ext cx="763225" cy="643627"/>
          </a:xfrm>
          <a:prstGeom prst="roundRect">
            <a:avLst/>
          </a:prstGeom>
          <a:solidFill>
            <a:schemeClr val="tx2">
              <a:lumMod val="10000"/>
              <a:alpha val="85000"/>
            </a:schemeClr>
          </a:solidFill>
          <a:ln>
            <a:solidFill>
              <a:srgbClr val="00002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97BD29F1-EB58-CA4C-8124-198B280AEAA4}"/>
              </a:ext>
            </a:extLst>
          </p:cNvPr>
          <p:cNvSpPr/>
          <p:nvPr/>
        </p:nvSpPr>
        <p:spPr>
          <a:xfrm>
            <a:off x="1902645" y="2572818"/>
            <a:ext cx="931522" cy="643627"/>
          </a:xfrm>
          <a:prstGeom prst="roundRect">
            <a:avLst/>
          </a:prstGeom>
          <a:solidFill>
            <a:srgbClr val="999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BC2C7C65-4066-53E5-69DD-8C9B815D6F43}"/>
              </a:ext>
            </a:extLst>
          </p:cNvPr>
          <p:cNvSpPr/>
          <p:nvPr/>
        </p:nvSpPr>
        <p:spPr>
          <a:xfrm>
            <a:off x="961068" y="2587301"/>
            <a:ext cx="684448" cy="643627"/>
          </a:xfrm>
          <a:prstGeom prst="roundRect">
            <a:avLst/>
          </a:prstGeom>
          <a:solidFill>
            <a:srgbClr val="999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89C1114-62FA-8C32-FAD7-DA3451BC5940}"/>
              </a:ext>
            </a:extLst>
          </p:cNvPr>
          <p:cNvGrpSpPr/>
          <p:nvPr/>
        </p:nvGrpSpPr>
        <p:grpSpPr>
          <a:xfrm>
            <a:off x="481152" y="2670730"/>
            <a:ext cx="316030" cy="1437311"/>
            <a:chOff x="6964680" y="2624840"/>
            <a:chExt cx="316030" cy="1437311"/>
          </a:xfrm>
        </p:grpSpPr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BC5C8D2D-23D4-B71D-2FE8-7385EEFF680C}"/>
                </a:ext>
              </a:extLst>
            </p:cNvPr>
            <p:cNvCxnSpPr>
              <a:cxnSpLocks/>
            </p:cNvCxnSpPr>
            <p:nvPr/>
          </p:nvCxnSpPr>
          <p:spPr>
            <a:xfrm>
              <a:off x="6970491" y="2624840"/>
              <a:ext cx="310219" cy="0"/>
            </a:xfrm>
            <a:prstGeom prst="straightConnector1">
              <a:avLst/>
            </a:prstGeom>
            <a:ln w="50800">
              <a:solidFill>
                <a:srgbClr val="9999A9"/>
              </a:solidFill>
              <a:headEnd w="lg" len="lg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23C477F7-10F7-1B58-4FFE-C1D3CDDA6FD8}"/>
                </a:ext>
              </a:extLst>
            </p:cNvPr>
            <p:cNvCxnSpPr>
              <a:cxnSpLocks/>
            </p:cNvCxnSpPr>
            <p:nvPr/>
          </p:nvCxnSpPr>
          <p:spPr>
            <a:xfrm>
              <a:off x="6964680" y="2933955"/>
              <a:ext cx="310219" cy="0"/>
            </a:xfrm>
            <a:prstGeom prst="straightConnector1">
              <a:avLst/>
            </a:prstGeom>
            <a:ln w="50800">
              <a:solidFill>
                <a:srgbClr val="9999A9"/>
              </a:solidFill>
              <a:headEnd w="lg" len="lg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0BFEEAA0-838C-7043-DFF8-C7D2C2DE5898}"/>
                </a:ext>
              </a:extLst>
            </p:cNvPr>
            <p:cNvCxnSpPr>
              <a:cxnSpLocks/>
            </p:cNvCxnSpPr>
            <p:nvPr/>
          </p:nvCxnSpPr>
          <p:spPr>
            <a:xfrm>
              <a:off x="6970491" y="3185856"/>
              <a:ext cx="310219" cy="0"/>
            </a:xfrm>
            <a:prstGeom prst="straightConnector1">
              <a:avLst/>
            </a:prstGeom>
            <a:ln w="50800">
              <a:solidFill>
                <a:srgbClr val="9999A9"/>
              </a:solidFill>
              <a:headEnd w="lg" len="lg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6D7176F3-A853-5054-EAFF-BE31CF294AAD}"/>
                </a:ext>
              </a:extLst>
            </p:cNvPr>
            <p:cNvCxnSpPr>
              <a:cxnSpLocks/>
            </p:cNvCxnSpPr>
            <p:nvPr/>
          </p:nvCxnSpPr>
          <p:spPr>
            <a:xfrm>
              <a:off x="6964680" y="3494970"/>
              <a:ext cx="310219" cy="0"/>
            </a:xfrm>
            <a:prstGeom prst="straightConnector1">
              <a:avLst/>
            </a:prstGeom>
            <a:ln w="50800">
              <a:solidFill>
                <a:srgbClr val="9999A9"/>
              </a:solidFill>
              <a:headEnd w="lg" len="lg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4C371CFE-36D1-4CCD-B6F5-D63B1CB3BBEA}"/>
                </a:ext>
              </a:extLst>
            </p:cNvPr>
            <p:cNvCxnSpPr>
              <a:cxnSpLocks/>
            </p:cNvCxnSpPr>
            <p:nvPr/>
          </p:nvCxnSpPr>
          <p:spPr>
            <a:xfrm>
              <a:off x="6970491" y="3753037"/>
              <a:ext cx="310219" cy="0"/>
            </a:xfrm>
            <a:prstGeom prst="straightConnector1">
              <a:avLst/>
            </a:prstGeom>
            <a:ln w="50800">
              <a:solidFill>
                <a:srgbClr val="9999A9"/>
              </a:solidFill>
              <a:headEnd w="lg" len="lg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50CDE9C4-42DE-5C83-00E2-460820E8B77D}"/>
                </a:ext>
              </a:extLst>
            </p:cNvPr>
            <p:cNvCxnSpPr>
              <a:cxnSpLocks/>
            </p:cNvCxnSpPr>
            <p:nvPr/>
          </p:nvCxnSpPr>
          <p:spPr>
            <a:xfrm>
              <a:off x="6964680" y="4062151"/>
              <a:ext cx="310219" cy="0"/>
            </a:xfrm>
            <a:prstGeom prst="straightConnector1">
              <a:avLst/>
            </a:prstGeom>
            <a:ln w="50800">
              <a:solidFill>
                <a:srgbClr val="9999A9"/>
              </a:solidFill>
              <a:headEnd w="lg" len="lg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ACB9CE1-5B41-43C2-F2EB-AF3055CFE6DC}"/>
              </a:ext>
            </a:extLst>
          </p:cNvPr>
          <p:cNvGrpSpPr/>
          <p:nvPr/>
        </p:nvGrpSpPr>
        <p:grpSpPr>
          <a:xfrm>
            <a:off x="4540776" y="2669912"/>
            <a:ext cx="316029" cy="1437311"/>
            <a:chOff x="11465571" y="2624022"/>
            <a:chExt cx="316029" cy="1437311"/>
          </a:xfrm>
        </p:grpSpPr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6DD5276B-1900-4024-1605-6D434430DA05}"/>
                </a:ext>
              </a:extLst>
            </p:cNvPr>
            <p:cNvCxnSpPr>
              <a:cxnSpLocks/>
            </p:cNvCxnSpPr>
            <p:nvPr/>
          </p:nvCxnSpPr>
          <p:spPr>
            <a:xfrm>
              <a:off x="11471381" y="2624022"/>
              <a:ext cx="310219" cy="0"/>
            </a:xfrm>
            <a:prstGeom prst="straightConnector1">
              <a:avLst/>
            </a:prstGeom>
            <a:ln w="50800">
              <a:solidFill>
                <a:srgbClr val="9999A9"/>
              </a:solidFill>
              <a:headEnd w="lg" len="lg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438A4BD0-7AB8-F437-E9E1-5165DD322311}"/>
                </a:ext>
              </a:extLst>
            </p:cNvPr>
            <p:cNvCxnSpPr>
              <a:cxnSpLocks/>
            </p:cNvCxnSpPr>
            <p:nvPr/>
          </p:nvCxnSpPr>
          <p:spPr>
            <a:xfrm>
              <a:off x="11465571" y="2933136"/>
              <a:ext cx="310219" cy="0"/>
            </a:xfrm>
            <a:prstGeom prst="straightConnector1">
              <a:avLst/>
            </a:prstGeom>
            <a:ln w="50800">
              <a:solidFill>
                <a:srgbClr val="9999A9"/>
              </a:solidFill>
              <a:headEnd w="lg" len="lg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45B7CBC0-E26F-9CBF-923D-365A8B806A07}"/>
                </a:ext>
              </a:extLst>
            </p:cNvPr>
            <p:cNvCxnSpPr>
              <a:cxnSpLocks/>
            </p:cNvCxnSpPr>
            <p:nvPr/>
          </p:nvCxnSpPr>
          <p:spPr>
            <a:xfrm>
              <a:off x="11471381" y="3185038"/>
              <a:ext cx="310219" cy="0"/>
            </a:xfrm>
            <a:prstGeom prst="straightConnector1">
              <a:avLst/>
            </a:prstGeom>
            <a:ln w="50800">
              <a:solidFill>
                <a:srgbClr val="9999A9"/>
              </a:solidFill>
              <a:headEnd w="lg" len="lg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77DF707C-FCB7-DF32-9134-4933C6066D2B}"/>
                </a:ext>
              </a:extLst>
            </p:cNvPr>
            <p:cNvCxnSpPr>
              <a:cxnSpLocks/>
            </p:cNvCxnSpPr>
            <p:nvPr/>
          </p:nvCxnSpPr>
          <p:spPr>
            <a:xfrm>
              <a:off x="11465571" y="3494152"/>
              <a:ext cx="310219" cy="0"/>
            </a:xfrm>
            <a:prstGeom prst="straightConnector1">
              <a:avLst/>
            </a:prstGeom>
            <a:ln w="50800">
              <a:solidFill>
                <a:srgbClr val="9999A9"/>
              </a:solidFill>
              <a:headEnd w="lg" len="lg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EC37A79E-A7C5-4702-BA68-A5FDE5D35229}"/>
                </a:ext>
              </a:extLst>
            </p:cNvPr>
            <p:cNvCxnSpPr>
              <a:cxnSpLocks/>
            </p:cNvCxnSpPr>
            <p:nvPr/>
          </p:nvCxnSpPr>
          <p:spPr>
            <a:xfrm>
              <a:off x="11471381" y="3752218"/>
              <a:ext cx="310219" cy="0"/>
            </a:xfrm>
            <a:prstGeom prst="straightConnector1">
              <a:avLst/>
            </a:prstGeom>
            <a:ln w="50800">
              <a:solidFill>
                <a:srgbClr val="9999A9"/>
              </a:solidFill>
              <a:headEnd w="lg" len="lg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B5B30F5F-4016-2CF7-DE86-D06E6726D77A}"/>
                </a:ext>
              </a:extLst>
            </p:cNvPr>
            <p:cNvCxnSpPr>
              <a:cxnSpLocks/>
            </p:cNvCxnSpPr>
            <p:nvPr/>
          </p:nvCxnSpPr>
          <p:spPr>
            <a:xfrm>
              <a:off x="11465571" y="4061333"/>
              <a:ext cx="310219" cy="0"/>
            </a:xfrm>
            <a:prstGeom prst="straightConnector1">
              <a:avLst/>
            </a:prstGeom>
            <a:ln w="50800">
              <a:solidFill>
                <a:srgbClr val="9999A9"/>
              </a:solidFill>
              <a:headEnd w="lg" len="lg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D36F95B1-2C55-16C4-DD6F-33CBAED8FF51}"/>
              </a:ext>
            </a:extLst>
          </p:cNvPr>
          <p:cNvGrpSpPr/>
          <p:nvPr/>
        </p:nvGrpSpPr>
        <p:grpSpPr>
          <a:xfrm>
            <a:off x="987532" y="2660941"/>
            <a:ext cx="636030" cy="496346"/>
            <a:chOff x="4186001" y="3255872"/>
            <a:chExt cx="636030" cy="496346"/>
          </a:xfrm>
        </p:grpSpPr>
        <p:sp>
          <p:nvSpPr>
            <p:cNvPr id="30" name="Cloud 29">
              <a:extLst>
                <a:ext uri="{FF2B5EF4-FFF2-40B4-BE49-F238E27FC236}">
                  <a16:creationId xmlns:a16="http://schemas.microsoft.com/office/drawing/2014/main" id="{08110EA0-BE74-CD04-B6F3-FB1BEA7DDBA7}"/>
                </a:ext>
              </a:extLst>
            </p:cNvPr>
            <p:cNvSpPr/>
            <p:nvPr/>
          </p:nvSpPr>
          <p:spPr>
            <a:xfrm>
              <a:off x="4186001" y="3255872"/>
              <a:ext cx="636030" cy="496346"/>
            </a:xfrm>
            <a:prstGeom prst="cloud">
              <a:avLst/>
            </a:prstGeom>
            <a:solidFill>
              <a:srgbClr val="CCCCD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en-US"/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D44640F8-91F7-AF11-6773-8065764AFD5E}"/>
                </a:ext>
              </a:extLst>
            </p:cNvPr>
            <p:cNvGrpSpPr/>
            <p:nvPr/>
          </p:nvGrpSpPr>
          <p:grpSpPr>
            <a:xfrm>
              <a:off x="4245769" y="3370919"/>
              <a:ext cx="485454" cy="287190"/>
              <a:chOff x="4506904" y="3315906"/>
              <a:chExt cx="503033" cy="282473"/>
            </a:xfrm>
          </p:grpSpPr>
          <p:sp>
            <p:nvSpPr>
              <p:cNvPr id="32" name="Flowchart: Stored Data 31">
                <a:extLst>
                  <a:ext uri="{FF2B5EF4-FFF2-40B4-BE49-F238E27FC236}">
                    <a16:creationId xmlns:a16="http://schemas.microsoft.com/office/drawing/2014/main" id="{2AD4203C-0BCC-2BCA-9C61-D78AF124B4AA}"/>
                  </a:ext>
                </a:extLst>
              </p:cNvPr>
              <p:cNvSpPr/>
              <p:nvPr/>
            </p:nvSpPr>
            <p:spPr>
              <a:xfrm flipH="1">
                <a:off x="4895465" y="3462460"/>
                <a:ext cx="114472" cy="108250"/>
              </a:xfrm>
              <a:prstGeom prst="flowChartOnlineStorage">
                <a:avLst/>
              </a:prstGeom>
              <a:solidFill>
                <a:srgbClr val="666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 anchorCtr="0"/>
              <a:lstStyle/>
              <a:p>
                <a:pPr algn="l"/>
                <a:endParaRPr lang="en-US"/>
              </a:p>
            </p:txBody>
          </p:sp>
          <p:sp>
            <p:nvSpPr>
              <p:cNvPr id="33" name="Flowchart: Delay 32">
                <a:extLst>
                  <a:ext uri="{FF2B5EF4-FFF2-40B4-BE49-F238E27FC236}">
                    <a16:creationId xmlns:a16="http://schemas.microsoft.com/office/drawing/2014/main" id="{312F448F-655F-77BF-3E80-25EF5B7A7C9B}"/>
                  </a:ext>
                </a:extLst>
              </p:cNvPr>
              <p:cNvSpPr/>
              <p:nvPr/>
            </p:nvSpPr>
            <p:spPr>
              <a:xfrm>
                <a:off x="4902395" y="3317746"/>
                <a:ext cx="107541" cy="108250"/>
              </a:xfrm>
              <a:prstGeom prst="flowChartDelay">
                <a:avLst/>
              </a:prstGeom>
              <a:solidFill>
                <a:srgbClr val="666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 anchorCtr="0"/>
              <a:lstStyle/>
              <a:p>
                <a:pPr algn="l"/>
                <a:endParaRPr lang="en-US"/>
              </a:p>
            </p:txBody>
          </p:sp>
          <p:sp>
            <p:nvSpPr>
              <p:cNvPr id="34" name="Flowchart: Extract 33">
                <a:extLst>
                  <a:ext uri="{FF2B5EF4-FFF2-40B4-BE49-F238E27FC236}">
                    <a16:creationId xmlns:a16="http://schemas.microsoft.com/office/drawing/2014/main" id="{48AC5F7E-5C84-F906-7D80-51572ABA5057}"/>
                  </a:ext>
                </a:extLst>
              </p:cNvPr>
              <p:cNvSpPr/>
              <p:nvPr/>
            </p:nvSpPr>
            <p:spPr>
              <a:xfrm rot="5400000">
                <a:off x="4656433" y="3497298"/>
                <a:ext cx="104224" cy="97938"/>
              </a:xfrm>
              <a:prstGeom prst="flowChartExtract">
                <a:avLst/>
              </a:prstGeom>
              <a:solidFill>
                <a:srgbClr val="666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 anchorCtr="0"/>
              <a:lstStyle/>
              <a:p>
                <a:pPr algn="l"/>
                <a:endParaRPr lang="en-US"/>
              </a:p>
            </p:txBody>
          </p:sp>
          <p:cxnSp>
            <p:nvCxnSpPr>
              <p:cNvPr id="35" name="Straight Arrow Connector 34">
                <a:extLst>
                  <a:ext uri="{FF2B5EF4-FFF2-40B4-BE49-F238E27FC236}">
                    <a16:creationId xmlns:a16="http://schemas.microsoft.com/office/drawing/2014/main" id="{587036A4-6DB5-E8B4-62A8-8AE581D5C6E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06904" y="3547603"/>
                <a:ext cx="152672" cy="0"/>
              </a:xfrm>
              <a:prstGeom prst="straightConnector1">
                <a:avLst/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Arrow Connector 35">
                <a:extLst>
                  <a:ext uri="{FF2B5EF4-FFF2-40B4-BE49-F238E27FC236}">
                    <a16:creationId xmlns:a16="http://schemas.microsoft.com/office/drawing/2014/main" id="{30F2F777-41D2-F466-B7DB-FAEDE084AD3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731953" y="3346131"/>
                <a:ext cx="168988" cy="501"/>
              </a:xfrm>
              <a:prstGeom prst="straightConnector1">
                <a:avLst/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Arrow Connector 36">
                <a:extLst>
                  <a:ext uri="{FF2B5EF4-FFF2-40B4-BE49-F238E27FC236}">
                    <a16:creationId xmlns:a16="http://schemas.microsoft.com/office/drawing/2014/main" id="{9349EC88-771B-E5F6-F050-3EB7A9F9484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757514" y="3547603"/>
                <a:ext cx="151912" cy="0"/>
              </a:xfrm>
              <a:prstGeom prst="straightConnector1">
                <a:avLst/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Arrow Connector 37">
                <a:extLst>
                  <a:ext uri="{FF2B5EF4-FFF2-40B4-BE49-F238E27FC236}">
                    <a16:creationId xmlns:a16="http://schemas.microsoft.com/office/drawing/2014/main" id="{969E70DB-4B25-22A4-4850-993E0BA5F69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21660" y="3362397"/>
                <a:ext cx="152672" cy="0"/>
              </a:xfrm>
              <a:prstGeom prst="straightConnector1">
                <a:avLst/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Connector: Elbow 38">
                <a:extLst>
                  <a:ext uri="{FF2B5EF4-FFF2-40B4-BE49-F238E27FC236}">
                    <a16:creationId xmlns:a16="http://schemas.microsoft.com/office/drawing/2014/main" id="{27407316-931E-586F-D051-8508AB8DA70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06904" y="3446061"/>
                <a:ext cx="398116" cy="39571"/>
              </a:xfrm>
              <a:prstGeom prst="bentConnector3">
                <a:avLst>
                  <a:gd name="adj1" fmla="val 50000"/>
                </a:avLst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Connector: Elbow 39">
                <a:extLst>
                  <a:ext uri="{FF2B5EF4-FFF2-40B4-BE49-F238E27FC236}">
                    <a16:creationId xmlns:a16="http://schemas.microsoft.com/office/drawing/2014/main" id="{0755689F-B3CF-23F1-0948-CDD95086416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519192" y="3405210"/>
                <a:ext cx="373805" cy="39571"/>
              </a:xfrm>
              <a:prstGeom prst="bentConnector3">
                <a:avLst>
                  <a:gd name="adj1" fmla="val 69111"/>
                </a:avLst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EE09A0DB-E6B7-C8E4-371C-3C530E1C1F6C}"/>
                  </a:ext>
                </a:extLst>
              </p:cNvPr>
              <p:cNvGrpSpPr/>
              <p:nvPr/>
            </p:nvGrpSpPr>
            <p:grpSpPr>
              <a:xfrm>
                <a:off x="4674332" y="3315906"/>
                <a:ext cx="76669" cy="90024"/>
                <a:chOff x="4089313" y="3970630"/>
                <a:chExt cx="723484" cy="405704"/>
              </a:xfrm>
            </p:grpSpPr>
            <p:sp>
              <p:nvSpPr>
                <p:cNvPr id="42" name="Rectangle: Rounded Corners 41">
                  <a:extLst>
                    <a:ext uri="{FF2B5EF4-FFF2-40B4-BE49-F238E27FC236}">
                      <a16:creationId xmlns:a16="http://schemas.microsoft.com/office/drawing/2014/main" id="{E7AF4425-EB9D-B8CE-033A-4B5BBEDDEC4D}"/>
                    </a:ext>
                  </a:extLst>
                </p:cNvPr>
                <p:cNvSpPr/>
                <p:nvPr/>
              </p:nvSpPr>
              <p:spPr>
                <a:xfrm>
                  <a:off x="4089313" y="3970630"/>
                  <a:ext cx="723484" cy="405704"/>
                </a:xfrm>
                <a:prstGeom prst="roundRect">
                  <a:avLst>
                    <a:gd name="adj" fmla="val 0"/>
                  </a:avLst>
                </a:prstGeom>
                <a:solidFill>
                  <a:srgbClr val="6666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00" b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43" name="Isosceles Triangle 42">
                  <a:extLst>
                    <a:ext uri="{FF2B5EF4-FFF2-40B4-BE49-F238E27FC236}">
                      <a16:creationId xmlns:a16="http://schemas.microsoft.com/office/drawing/2014/main" id="{F1E9C1F9-3FE6-F277-42BC-8AB24A42F4E9}"/>
                    </a:ext>
                  </a:extLst>
                </p:cNvPr>
                <p:cNvSpPr/>
                <p:nvPr/>
              </p:nvSpPr>
              <p:spPr>
                <a:xfrm rot="5400000">
                  <a:off x="4069857" y="4203956"/>
                  <a:ext cx="191310" cy="125845"/>
                </a:xfrm>
                <a:prstGeom prst="triangle">
                  <a:avLst/>
                </a:prstGeom>
                <a:solidFill>
                  <a:srgbClr val="50007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72000" rIns="108000" bIns="72000" rtlCol="0" anchor="t" anchorCtr="0"/>
                <a:lstStyle/>
                <a:p>
                  <a:pPr algn="l"/>
                  <a:endParaRPr lang="en-US"/>
                </a:p>
              </p:txBody>
            </p:sp>
          </p:grpSp>
        </p:grp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E9CB2DEF-07CC-06CB-47A3-FAB69F97A57E}"/>
              </a:ext>
            </a:extLst>
          </p:cNvPr>
          <p:cNvGrpSpPr/>
          <p:nvPr/>
        </p:nvGrpSpPr>
        <p:grpSpPr>
          <a:xfrm>
            <a:off x="1924792" y="2660941"/>
            <a:ext cx="840062" cy="496346"/>
            <a:chOff x="4186001" y="3255872"/>
            <a:chExt cx="636030" cy="496346"/>
          </a:xfrm>
        </p:grpSpPr>
        <p:sp>
          <p:nvSpPr>
            <p:cNvPr id="45" name="Cloud 44">
              <a:extLst>
                <a:ext uri="{FF2B5EF4-FFF2-40B4-BE49-F238E27FC236}">
                  <a16:creationId xmlns:a16="http://schemas.microsoft.com/office/drawing/2014/main" id="{0EF2E3BC-517D-B405-2DFC-6F1103B0C61A}"/>
                </a:ext>
              </a:extLst>
            </p:cNvPr>
            <p:cNvSpPr/>
            <p:nvPr/>
          </p:nvSpPr>
          <p:spPr>
            <a:xfrm>
              <a:off x="4186001" y="3255872"/>
              <a:ext cx="636030" cy="496346"/>
            </a:xfrm>
            <a:prstGeom prst="cloud">
              <a:avLst/>
            </a:prstGeom>
            <a:solidFill>
              <a:srgbClr val="CCCCD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en-US"/>
            </a:p>
          </p:txBody>
        </p: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54019584-B84F-0531-2F3F-DF14F88981B0}"/>
                </a:ext>
              </a:extLst>
            </p:cNvPr>
            <p:cNvGrpSpPr/>
            <p:nvPr/>
          </p:nvGrpSpPr>
          <p:grpSpPr>
            <a:xfrm>
              <a:off x="4245769" y="3370919"/>
              <a:ext cx="485454" cy="287190"/>
              <a:chOff x="4506904" y="3315906"/>
              <a:chExt cx="503033" cy="282473"/>
            </a:xfrm>
          </p:grpSpPr>
          <p:sp>
            <p:nvSpPr>
              <p:cNvPr id="47" name="Flowchart: Stored Data 46">
                <a:extLst>
                  <a:ext uri="{FF2B5EF4-FFF2-40B4-BE49-F238E27FC236}">
                    <a16:creationId xmlns:a16="http://schemas.microsoft.com/office/drawing/2014/main" id="{E856D14F-E00F-ADCE-2ED0-E8C2FF4C559E}"/>
                  </a:ext>
                </a:extLst>
              </p:cNvPr>
              <p:cNvSpPr/>
              <p:nvPr/>
            </p:nvSpPr>
            <p:spPr>
              <a:xfrm flipH="1">
                <a:off x="4895465" y="3462460"/>
                <a:ext cx="114472" cy="108250"/>
              </a:xfrm>
              <a:prstGeom prst="flowChartOnlineStorage">
                <a:avLst/>
              </a:prstGeom>
              <a:solidFill>
                <a:srgbClr val="666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 anchorCtr="0"/>
              <a:lstStyle/>
              <a:p>
                <a:pPr algn="l"/>
                <a:endParaRPr lang="en-US"/>
              </a:p>
            </p:txBody>
          </p:sp>
          <p:sp>
            <p:nvSpPr>
              <p:cNvPr id="48" name="Flowchart: Delay 47">
                <a:extLst>
                  <a:ext uri="{FF2B5EF4-FFF2-40B4-BE49-F238E27FC236}">
                    <a16:creationId xmlns:a16="http://schemas.microsoft.com/office/drawing/2014/main" id="{CC0165A0-8079-81BD-ADBF-DDBF49007DE8}"/>
                  </a:ext>
                </a:extLst>
              </p:cNvPr>
              <p:cNvSpPr/>
              <p:nvPr/>
            </p:nvSpPr>
            <p:spPr>
              <a:xfrm>
                <a:off x="4902395" y="3317746"/>
                <a:ext cx="107541" cy="108250"/>
              </a:xfrm>
              <a:prstGeom prst="flowChartDelay">
                <a:avLst/>
              </a:prstGeom>
              <a:solidFill>
                <a:srgbClr val="666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 anchorCtr="0"/>
              <a:lstStyle/>
              <a:p>
                <a:pPr algn="l"/>
                <a:endParaRPr lang="en-US"/>
              </a:p>
            </p:txBody>
          </p:sp>
          <p:sp>
            <p:nvSpPr>
              <p:cNvPr id="49" name="Flowchart: Extract 48">
                <a:extLst>
                  <a:ext uri="{FF2B5EF4-FFF2-40B4-BE49-F238E27FC236}">
                    <a16:creationId xmlns:a16="http://schemas.microsoft.com/office/drawing/2014/main" id="{A1907F30-F843-79F0-074B-61020163B5C8}"/>
                  </a:ext>
                </a:extLst>
              </p:cNvPr>
              <p:cNvSpPr/>
              <p:nvPr/>
            </p:nvSpPr>
            <p:spPr>
              <a:xfrm rot="5400000">
                <a:off x="4656433" y="3497298"/>
                <a:ext cx="104224" cy="97938"/>
              </a:xfrm>
              <a:prstGeom prst="flowChartExtract">
                <a:avLst/>
              </a:prstGeom>
              <a:solidFill>
                <a:srgbClr val="666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 anchorCtr="0"/>
              <a:lstStyle/>
              <a:p>
                <a:pPr algn="l"/>
                <a:endParaRPr lang="en-US"/>
              </a:p>
            </p:txBody>
          </p:sp>
          <p:cxnSp>
            <p:nvCxnSpPr>
              <p:cNvPr id="50" name="Straight Arrow Connector 49">
                <a:extLst>
                  <a:ext uri="{FF2B5EF4-FFF2-40B4-BE49-F238E27FC236}">
                    <a16:creationId xmlns:a16="http://schemas.microsoft.com/office/drawing/2014/main" id="{80813BF9-B401-2A12-BA63-BF20C212DC6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06904" y="3547603"/>
                <a:ext cx="152672" cy="0"/>
              </a:xfrm>
              <a:prstGeom prst="straightConnector1">
                <a:avLst/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Arrow Connector 50">
                <a:extLst>
                  <a:ext uri="{FF2B5EF4-FFF2-40B4-BE49-F238E27FC236}">
                    <a16:creationId xmlns:a16="http://schemas.microsoft.com/office/drawing/2014/main" id="{A28DFCD8-8552-7078-122C-BCD8A2D9313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731953" y="3346131"/>
                <a:ext cx="168988" cy="501"/>
              </a:xfrm>
              <a:prstGeom prst="straightConnector1">
                <a:avLst/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Arrow Connector 51">
                <a:extLst>
                  <a:ext uri="{FF2B5EF4-FFF2-40B4-BE49-F238E27FC236}">
                    <a16:creationId xmlns:a16="http://schemas.microsoft.com/office/drawing/2014/main" id="{7C4B0CE7-1860-337C-9D8E-8D4E0118873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757514" y="3547603"/>
                <a:ext cx="151912" cy="0"/>
              </a:xfrm>
              <a:prstGeom prst="straightConnector1">
                <a:avLst/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Arrow Connector 52">
                <a:extLst>
                  <a:ext uri="{FF2B5EF4-FFF2-40B4-BE49-F238E27FC236}">
                    <a16:creationId xmlns:a16="http://schemas.microsoft.com/office/drawing/2014/main" id="{E64EAADC-0D85-5DB9-ED71-96C97105950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21660" y="3362397"/>
                <a:ext cx="152672" cy="0"/>
              </a:xfrm>
              <a:prstGeom prst="straightConnector1">
                <a:avLst/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Connector: Elbow 53">
                <a:extLst>
                  <a:ext uri="{FF2B5EF4-FFF2-40B4-BE49-F238E27FC236}">
                    <a16:creationId xmlns:a16="http://schemas.microsoft.com/office/drawing/2014/main" id="{CBC260ED-E3AC-3B17-08E6-DA7F7351B04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06904" y="3446061"/>
                <a:ext cx="398116" cy="39571"/>
              </a:xfrm>
              <a:prstGeom prst="bentConnector3">
                <a:avLst>
                  <a:gd name="adj1" fmla="val 50000"/>
                </a:avLst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Connector: Elbow 54">
                <a:extLst>
                  <a:ext uri="{FF2B5EF4-FFF2-40B4-BE49-F238E27FC236}">
                    <a16:creationId xmlns:a16="http://schemas.microsoft.com/office/drawing/2014/main" id="{15BB92E8-C751-5FC8-BC82-A0B9372A025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519192" y="3405210"/>
                <a:ext cx="373805" cy="39571"/>
              </a:xfrm>
              <a:prstGeom prst="bentConnector3">
                <a:avLst>
                  <a:gd name="adj1" fmla="val 69111"/>
                </a:avLst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6" name="Group 55">
                <a:extLst>
                  <a:ext uri="{FF2B5EF4-FFF2-40B4-BE49-F238E27FC236}">
                    <a16:creationId xmlns:a16="http://schemas.microsoft.com/office/drawing/2014/main" id="{85EF6B0E-794D-1BD7-8FF8-8076C4F7EA6C}"/>
                  </a:ext>
                </a:extLst>
              </p:cNvPr>
              <p:cNvGrpSpPr/>
              <p:nvPr/>
            </p:nvGrpSpPr>
            <p:grpSpPr>
              <a:xfrm>
                <a:off x="4674332" y="3315906"/>
                <a:ext cx="76669" cy="90024"/>
                <a:chOff x="4089313" y="3970630"/>
                <a:chExt cx="723484" cy="405704"/>
              </a:xfrm>
            </p:grpSpPr>
            <p:sp>
              <p:nvSpPr>
                <p:cNvPr id="57" name="Rectangle: Rounded Corners 56">
                  <a:extLst>
                    <a:ext uri="{FF2B5EF4-FFF2-40B4-BE49-F238E27FC236}">
                      <a16:creationId xmlns:a16="http://schemas.microsoft.com/office/drawing/2014/main" id="{F52FACD6-0C4A-8BB7-EB23-20F22B4780F1}"/>
                    </a:ext>
                  </a:extLst>
                </p:cNvPr>
                <p:cNvSpPr/>
                <p:nvPr/>
              </p:nvSpPr>
              <p:spPr>
                <a:xfrm>
                  <a:off x="4089313" y="3970630"/>
                  <a:ext cx="723484" cy="405704"/>
                </a:xfrm>
                <a:prstGeom prst="roundRect">
                  <a:avLst>
                    <a:gd name="adj" fmla="val 0"/>
                  </a:avLst>
                </a:prstGeom>
                <a:solidFill>
                  <a:srgbClr val="6666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00" b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58" name="Isosceles Triangle 57">
                  <a:extLst>
                    <a:ext uri="{FF2B5EF4-FFF2-40B4-BE49-F238E27FC236}">
                      <a16:creationId xmlns:a16="http://schemas.microsoft.com/office/drawing/2014/main" id="{FEFC6048-3448-65D4-46C3-DC684C5BAB21}"/>
                    </a:ext>
                  </a:extLst>
                </p:cNvPr>
                <p:cNvSpPr/>
                <p:nvPr/>
              </p:nvSpPr>
              <p:spPr>
                <a:xfrm rot="5400000">
                  <a:off x="4069857" y="4203956"/>
                  <a:ext cx="191310" cy="125845"/>
                </a:xfrm>
                <a:prstGeom prst="triangle">
                  <a:avLst/>
                </a:prstGeom>
                <a:solidFill>
                  <a:srgbClr val="50007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72000" rIns="108000" bIns="72000" rtlCol="0" anchor="t" anchorCtr="0"/>
                <a:lstStyle/>
                <a:p>
                  <a:pPr algn="l"/>
                  <a:endParaRPr lang="en-US"/>
                </a:p>
              </p:txBody>
            </p:sp>
          </p:grpSp>
        </p:grpSp>
      </p:grp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501B96B7-3A22-5D4C-D053-3B6761758050}"/>
              </a:ext>
            </a:extLst>
          </p:cNvPr>
          <p:cNvSpPr/>
          <p:nvPr/>
        </p:nvSpPr>
        <p:spPr>
          <a:xfrm>
            <a:off x="3233374" y="2567048"/>
            <a:ext cx="684448" cy="643627"/>
          </a:xfrm>
          <a:prstGeom prst="roundRect">
            <a:avLst/>
          </a:prstGeom>
          <a:solidFill>
            <a:srgbClr val="999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D67E5754-0A0D-1C82-1F44-083928D51E78}"/>
              </a:ext>
            </a:extLst>
          </p:cNvPr>
          <p:cNvGrpSpPr/>
          <p:nvPr/>
        </p:nvGrpSpPr>
        <p:grpSpPr>
          <a:xfrm>
            <a:off x="3259838" y="2640688"/>
            <a:ext cx="636030" cy="496346"/>
            <a:chOff x="4186001" y="3255872"/>
            <a:chExt cx="636030" cy="496346"/>
          </a:xfrm>
        </p:grpSpPr>
        <p:sp>
          <p:nvSpPr>
            <p:cNvPr id="61" name="Cloud 60">
              <a:extLst>
                <a:ext uri="{FF2B5EF4-FFF2-40B4-BE49-F238E27FC236}">
                  <a16:creationId xmlns:a16="http://schemas.microsoft.com/office/drawing/2014/main" id="{D61A0663-437C-6687-15FE-562AA9D8599F}"/>
                </a:ext>
              </a:extLst>
            </p:cNvPr>
            <p:cNvSpPr/>
            <p:nvPr/>
          </p:nvSpPr>
          <p:spPr>
            <a:xfrm>
              <a:off x="4186001" y="3255872"/>
              <a:ext cx="636030" cy="496346"/>
            </a:xfrm>
            <a:prstGeom prst="cloud">
              <a:avLst/>
            </a:prstGeom>
            <a:solidFill>
              <a:srgbClr val="CCCCD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en-US"/>
            </a:p>
          </p:txBody>
        </p: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75371C23-8FA2-5C06-D360-840ACB8BD56D}"/>
                </a:ext>
              </a:extLst>
            </p:cNvPr>
            <p:cNvGrpSpPr/>
            <p:nvPr/>
          </p:nvGrpSpPr>
          <p:grpSpPr>
            <a:xfrm>
              <a:off x="4245769" y="3370919"/>
              <a:ext cx="485454" cy="287190"/>
              <a:chOff x="4506904" y="3315906"/>
              <a:chExt cx="503033" cy="282473"/>
            </a:xfrm>
          </p:grpSpPr>
          <p:sp>
            <p:nvSpPr>
              <p:cNvPr id="63" name="Flowchart: Stored Data 62">
                <a:extLst>
                  <a:ext uri="{FF2B5EF4-FFF2-40B4-BE49-F238E27FC236}">
                    <a16:creationId xmlns:a16="http://schemas.microsoft.com/office/drawing/2014/main" id="{B31E1EE6-2FB3-6084-5223-5F7D709085AC}"/>
                  </a:ext>
                </a:extLst>
              </p:cNvPr>
              <p:cNvSpPr/>
              <p:nvPr/>
            </p:nvSpPr>
            <p:spPr>
              <a:xfrm flipH="1">
                <a:off x="4895465" y="3462460"/>
                <a:ext cx="114472" cy="108250"/>
              </a:xfrm>
              <a:prstGeom prst="flowChartOnlineStorage">
                <a:avLst/>
              </a:prstGeom>
              <a:solidFill>
                <a:srgbClr val="666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 anchorCtr="0"/>
              <a:lstStyle/>
              <a:p>
                <a:pPr algn="l"/>
                <a:endParaRPr lang="en-US"/>
              </a:p>
            </p:txBody>
          </p:sp>
          <p:sp>
            <p:nvSpPr>
              <p:cNvPr id="64" name="Flowchart: Delay 63">
                <a:extLst>
                  <a:ext uri="{FF2B5EF4-FFF2-40B4-BE49-F238E27FC236}">
                    <a16:creationId xmlns:a16="http://schemas.microsoft.com/office/drawing/2014/main" id="{8F62D511-EE69-AC3F-FE6B-CCC0D355DBB7}"/>
                  </a:ext>
                </a:extLst>
              </p:cNvPr>
              <p:cNvSpPr/>
              <p:nvPr/>
            </p:nvSpPr>
            <p:spPr>
              <a:xfrm>
                <a:off x="4902395" y="3317746"/>
                <a:ext cx="107541" cy="108250"/>
              </a:xfrm>
              <a:prstGeom prst="flowChartDelay">
                <a:avLst/>
              </a:prstGeom>
              <a:solidFill>
                <a:srgbClr val="666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 anchorCtr="0"/>
              <a:lstStyle/>
              <a:p>
                <a:pPr algn="l"/>
                <a:endParaRPr lang="en-US"/>
              </a:p>
            </p:txBody>
          </p:sp>
          <p:sp>
            <p:nvSpPr>
              <p:cNvPr id="65" name="Flowchart: Extract 64">
                <a:extLst>
                  <a:ext uri="{FF2B5EF4-FFF2-40B4-BE49-F238E27FC236}">
                    <a16:creationId xmlns:a16="http://schemas.microsoft.com/office/drawing/2014/main" id="{B31E62C4-BB81-7D9B-701E-5217E420C3B2}"/>
                  </a:ext>
                </a:extLst>
              </p:cNvPr>
              <p:cNvSpPr/>
              <p:nvPr/>
            </p:nvSpPr>
            <p:spPr>
              <a:xfrm rot="5400000">
                <a:off x="4656433" y="3497298"/>
                <a:ext cx="104224" cy="97938"/>
              </a:xfrm>
              <a:prstGeom prst="flowChartExtract">
                <a:avLst/>
              </a:prstGeom>
              <a:solidFill>
                <a:srgbClr val="666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 anchorCtr="0"/>
              <a:lstStyle/>
              <a:p>
                <a:pPr algn="l"/>
                <a:endParaRPr lang="en-US"/>
              </a:p>
            </p:txBody>
          </p:sp>
          <p:cxnSp>
            <p:nvCxnSpPr>
              <p:cNvPr id="66" name="Straight Arrow Connector 65">
                <a:extLst>
                  <a:ext uri="{FF2B5EF4-FFF2-40B4-BE49-F238E27FC236}">
                    <a16:creationId xmlns:a16="http://schemas.microsoft.com/office/drawing/2014/main" id="{03171280-2309-3D99-B474-5B614B102F0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06904" y="3547603"/>
                <a:ext cx="152672" cy="0"/>
              </a:xfrm>
              <a:prstGeom prst="straightConnector1">
                <a:avLst/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Arrow Connector 66">
                <a:extLst>
                  <a:ext uri="{FF2B5EF4-FFF2-40B4-BE49-F238E27FC236}">
                    <a16:creationId xmlns:a16="http://schemas.microsoft.com/office/drawing/2014/main" id="{19FDD4BA-2BDE-318C-48E1-1CA9759AAFC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731953" y="3346131"/>
                <a:ext cx="168988" cy="501"/>
              </a:xfrm>
              <a:prstGeom prst="straightConnector1">
                <a:avLst/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Arrow Connector 67">
                <a:extLst>
                  <a:ext uri="{FF2B5EF4-FFF2-40B4-BE49-F238E27FC236}">
                    <a16:creationId xmlns:a16="http://schemas.microsoft.com/office/drawing/2014/main" id="{1F421FC8-F993-7D1E-7824-A9B886F96AC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757514" y="3547603"/>
                <a:ext cx="151912" cy="0"/>
              </a:xfrm>
              <a:prstGeom prst="straightConnector1">
                <a:avLst/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Arrow Connector 68">
                <a:extLst>
                  <a:ext uri="{FF2B5EF4-FFF2-40B4-BE49-F238E27FC236}">
                    <a16:creationId xmlns:a16="http://schemas.microsoft.com/office/drawing/2014/main" id="{3FB0BD0B-1387-BDB0-E96B-CC6D9EA9DB7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21660" y="3362397"/>
                <a:ext cx="152672" cy="0"/>
              </a:xfrm>
              <a:prstGeom prst="straightConnector1">
                <a:avLst/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Connector: Elbow 69">
                <a:extLst>
                  <a:ext uri="{FF2B5EF4-FFF2-40B4-BE49-F238E27FC236}">
                    <a16:creationId xmlns:a16="http://schemas.microsoft.com/office/drawing/2014/main" id="{2E8779A2-99B4-C319-9C95-62914DCF932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06904" y="3446061"/>
                <a:ext cx="398116" cy="39571"/>
              </a:xfrm>
              <a:prstGeom prst="bentConnector3">
                <a:avLst>
                  <a:gd name="adj1" fmla="val 50000"/>
                </a:avLst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Connector: Elbow 70">
                <a:extLst>
                  <a:ext uri="{FF2B5EF4-FFF2-40B4-BE49-F238E27FC236}">
                    <a16:creationId xmlns:a16="http://schemas.microsoft.com/office/drawing/2014/main" id="{4C66AB3D-DE94-D31F-EC8E-DE08B0FC602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519192" y="3405210"/>
                <a:ext cx="373805" cy="39571"/>
              </a:xfrm>
              <a:prstGeom prst="bentConnector3">
                <a:avLst>
                  <a:gd name="adj1" fmla="val 69111"/>
                </a:avLst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D93F134F-2932-FBF7-29E5-3E58F7E59A3A}"/>
                  </a:ext>
                </a:extLst>
              </p:cNvPr>
              <p:cNvGrpSpPr/>
              <p:nvPr/>
            </p:nvGrpSpPr>
            <p:grpSpPr>
              <a:xfrm>
                <a:off x="4674332" y="3315906"/>
                <a:ext cx="76669" cy="90024"/>
                <a:chOff x="4089313" y="3970630"/>
                <a:chExt cx="723484" cy="405704"/>
              </a:xfrm>
            </p:grpSpPr>
            <p:sp>
              <p:nvSpPr>
                <p:cNvPr id="73" name="Rectangle: Rounded Corners 72">
                  <a:extLst>
                    <a:ext uri="{FF2B5EF4-FFF2-40B4-BE49-F238E27FC236}">
                      <a16:creationId xmlns:a16="http://schemas.microsoft.com/office/drawing/2014/main" id="{3EF8F199-2260-4E8C-A8A1-40B8C3195492}"/>
                    </a:ext>
                  </a:extLst>
                </p:cNvPr>
                <p:cNvSpPr/>
                <p:nvPr/>
              </p:nvSpPr>
              <p:spPr>
                <a:xfrm>
                  <a:off x="4089313" y="3970630"/>
                  <a:ext cx="723484" cy="405704"/>
                </a:xfrm>
                <a:prstGeom prst="roundRect">
                  <a:avLst>
                    <a:gd name="adj" fmla="val 0"/>
                  </a:avLst>
                </a:prstGeom>
                <a:solidFill>
                  <a:srgbClr val="6666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00" b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74" name="Isosceles Triangle 73">
                  <a:extLst>
                    <a:ext uri="{FF2B5EF4-FFF2-40B4-BE49-F238E27FC236}">
                      <a16:creationId xmlns:a16="http://schemas.microsoft.com/office/drawing/2014/main" id="{610EBA44-F7F3-4319-A0D6-BD914E68DF63}"/>
                    </a:ext>
                  </a:extLst>
                </p:cNvPr>
                <p:cNvSpPr/>
                <p:nvPr/>
              </p:nvSpPr>
              <p:spPr>
                <a:xfrm rot="5400000">
                  <a:off x="4069857" y="4203956"/>
                  <a:ext cx="191310" cy="125845"/>
                </a:xfrm>
                <a:prstGeom prst="triangle">
                  <a:avLst/>
                </a:prstGeom>
                <a:solidFill>
                  <a:srgbClr val="50007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72000" rIns="108000" bIns="72000" rtlCol="0" anchor="t" anchorCtr="0"/>
                <a:lstStyle/>
                <a:p>
                  <a:pPr algn="l"/>
                  <a:endParaRPr lang="en-US"/>
                </a:p>
              </p:txBody>
            </p:sp>
          </p:grpSp>
        </p:grpSp>
      </p:grp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05010A82-6AB3-3FB2-5FBA-3C373B448E00}"/>
              </a:ext>
            </a:extLst>
          </p:cNvPr>
          <p:cNvCxnSpPr>
            <a:cxnSpLocks/>
          </p:cNvCxnSpPr>
          <p:nvPr/>
        </p:nvCxnSpPr>
        <p:spPr>
          <a:xfrm flipV="1">
            <a:off x="911902" y="3359982"/>
            <a:ext cx="3574080" cy="263849"/>
          </a:xfrm>
          <a:prstGeom prst="straightConnector1">
            <a:avLst/>
          </a:prstGeom>
          <a:ln w="50800" cmpd="dbl">
            <a:solidFill>
              <a:srgbClr val="FF0000"/>
            </a:solidFill>
            <a:prstDash val="sysDash"/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ctangle: Rounded Corners 75">
            <a:extLst>
              <a:ext uri="{FF2B5EF4-FFF2-40B4-BE49-F238E27FC236}">
                <a16:creationId xmlns:a16="http://schemas.microsoft.com/office/drawing/2014/main" id="{7C3AC2D8-A691-24CB-68C1-B15B8E5CBD30}"/>
              </a:ext>
            </a:extLst>
          </p:cNvPr>
          <p:cNvSpPr/>
          <p:nvPr/>
        </p:nvSpPr>
        <p:spPr>
          <a:xfrm>
            <a:off x="4459062" y="3141787"/>
            <a:ext cx="264855" cy="313886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n-US" sz="1600">
                <a:solidFill>
                  <a:schemeClr val="tx1"/>
                </a:solidFill>
              </a:rPr>
              <a:t>E</a:t>
            </a:r>
            <a:endParaRPr lang="en-US" sz="2800">
              <a:solidFill>
                <a:schemeClr val="tx1"/>
              </a:solidFill>
            </a:endParaRPr>
          </a:p>
        </p:txBody>
      </p:sp>
      <p:sp>
        <p:nvSpPr>
          <p:cNvPr id="77" name="Rectangle: Rounded Corners 76">
            <a:extLst>
              <a:ext uri="{FF2B5EF4-FFF2-40B4-BE49-F238E27FC236}">
                <a16:creationId xmlns:a16="http://schemas.microsoft.com/office/drawing/2014/main" id="{0A0B37E8-EF98-1FDC-0538-21F7B523B283}"/>
              </a:ext>
            </a:extLst>
          </p:cNvPr>
          <p:cNvSpPr/>
          <p:nvPr/>
        </p:nvSpPr>
        <p:spPr>
          <a:xfrm>
            <a:off x="727222" y="3421075"/>
            <a:ext cx="264855" cy="313886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D</a:t>
            </a:r>
            <a:endParaRPr lang="en-US" sz="2800" dirty="0">
              <a:solidFill>
                <a:schemeClr val="tx1"/>
              </a:solidFill>
            </a:endParaRPr>
          </a:p>
        </p:txBody>
      </p: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AF0DA6BA-D7B3-4E40-AD7B-D1110DA6DFDF}"/>
              </a:ext>
            </a:extLst>
          </p:cNvPr>
          <p:cNvCxnSpPr>
            <a:cxnSpLocks/>
            <a:stCxn id="77" idx="3"/>
            <a:endCxn id="45" idx="2"/>
          </p:cNvCxnSpPr>
          <p:nvPr/>
        </p:nvCxnSpPr>
        <p:spPr>
          <a:xfrm flipV="1">
            <a:off x="992077" y="2909114"/>
            <a:ext cx="935321" cy="668904"/>
          </a:xfrm>
          <a:prstGeom prst="straightConnector1">
            <a:avLst/>
          </a:prstGeom>
          <a:ln w="50800" cmpd="dbl">
            <a:solidFill>
              <a:schemeClr val="accent2"/>
            </a:solidFill>
            <a:prstDash val="sysDash"/>
            <a:headEnd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A8A25E52-3B2E-128B-2FE8-6B0BD1A2588C}"/>
              </a:ext>
            </a:extLst>
          </p:cNvPr>
          <p:cNvCxnSpPr>
            <a:cxnSpLocks/>
            <a:stCxn id="11" idx="3"/>
            <a:endCxn id="76" idx="1"/>
          </p:cNvCxnSpPr>
          <p:nvPr/>
        </p:nvCxnSpPr>
        <p:spPr>
          <a:xfrm>
            <a:off x="2834167" y="2894632"/>
            <a:ext cx="1624895" cy="404098"/>
          </a:xfrm>
          <a:prstGeom prst="straightConnector1">
            <a:avLst/>
          </a:prstGeom>
          <a:ln w="50800" cmpd="dbl">
            <a:solidFill>
              <a:schemeClr val="accent2"/>
            </a:solidFill>
            <a:prstDash val="sysDash"/>
            <a:headEnd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036CFED2-CAF6-4EE5-ED3A-F6E97E614849}"/>
              </a:ext>
            </a:extLst>
          </p:cNvPr>
          <p:cNvCxnSpPr>
            <a:cxnSpLocks/>
            <a:stCxn id="45" idx="2"/>
            <a:endCxn id="11" idx="3"/>
          </p:cNvCxnSpPr>
          <p:nvPr/>
        </p:nvCxnSpPr>
        <p:spPr>
          <a:xfrm flipV="1">
            <a:off x="1927398" y="2894632"/>
            <a:ext cx="906769" cy="14482"/>
          </a:xfrm>
          <a:prstGeom prst="straightConnector1">
            <a:avLst/>
          </a:prstGeom>
          <a:ln w="50800" cmpd="dbl">
            <a:solidFill>
              <a:schemeClr val="accent2"/>
            </a:solidFill>
            <a:prstDash val="sysDash"/>
            <a:headEnd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80">
            <a:extLst>
              <a:ext uri="{FF2B5EF4-FFF2-40B4-BE49-F238E27FC236}">
                <a16:creationId xmlns:a16="http://schemas.microsoft.com/office/drawing/2014/main" id="{0ABF28FA-0B7B-E607-07A0-86E0CE2B48D3}"/>
              </a:ext>
            </a:extLst>
          </p:cNvPr>
          <p:cNvSpPr txBox="1"/>
          <p:nvPr/>
        </p:nvSpPr>
        <p:spPr>
          <a:xfrm>
            <a:off x="1962665" y="2536775"/>
            <a:ext cx="37029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chemeClr val="bg2"/>
                </a:solidFill>
              </a:rPr>
              <a:t>RSA</a:t>
            </a:r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567BC4BA-5EB6-8FA9-2154-AF00EF57B7C7}"/>
              </a:ext>
            </a:extLst>
          </p:cNvPr>
          <p:cNvSpPr/>
          <p:nvPr/>
        </p:nvSpPr>
        <p:spPr>
          <a:xfrm>
            <a:off x="961068" y="3736185"/>
            <a:ext cx="684448" cy="643627"/>
          </a:xfrm>
          <a:prstGeom prst="roundRect">
            <a:avLst/>
          </a:prstGeom>
          <a:solidFill>
            <a:srgbClr val="999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6D920D12-CED1-DADB-A15F-35802570A53F}"/>
              </a:ext>
            </a:extLst>
          </p:cNvPr>
          <p:cNvGrpSpPr/>
          <p:nvPr/>
        </p:nvGrpSpPr>
        <p:grpSpPr>
          <a:xfrm>
            <a:off x="987532" y="3809825"/>
            <a:ext cx="636030" cy="496346"/>
            <a:chOff x="4186001" y="3255872"/>
            <a:chExt cx="636030" cy="496346"/>
          </a:xfrm>
        </p:grpSpPr>
        <p:sp>
          <p:nvSpPr>
            <p:cNvPr id="84" name="Cloud 83">
              <a:extLst>
                <a:ext uri="{FF2B5EF4-FFF2-40B4-BE49-F238E27FC236}">
                  <a16:creationId xmlns:a16="http://schemas.microsoft.com/office/drawing/2014/main" id="{50568E85-78D1-19CF-EAAE-2989787F49DE}"/>
                </a:ext>
              </a:extLst>
            </p:cNvPr>
            <p:cNvSpPr/>
            <p:nvPr/>
          </p:nvSpPr>
          <p:spPr>
            <a:xfrm>
              <a:off x="4186001" y="3255872"/>
              <a:ext cx="636030" cy="496346"/>
            </a:xfrm>
            <a:prstGeom prst="cloud">
              <a:avLst/>
            </a:prstGeom>
            <a:solidFill>
              <a:srgbClr val="CCCCD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en-US"/>
            </a:p>
          </p:txBody>
        </p: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39329ADA-405A-0FE8-1F23-FEB2AEFA760F}"/>
                </a:ext>
              </a:extLst>
            </p:cNvPr>
            <p:cNvGrpSpPr/>
            <p:nvPr/>
          </p:nvGrpSpPr>
          <p:grpSpPr>
            <a:xfrm>
              <a:off x="4245769" y="3370919"/>
              <a:ext cx="485454" cy="287190"/>
              <a:chOff x="4506904" y="3315906"/>
              <a:chExt cx="503033" cy="282473"/>
            </a:xfrm>
          </p:grpSpPr>
          <p:sp>
            <p:nvSpPr>
              <p:cNvPr id="86" name="Flowchart: Stored Data 85">
                <a:extLst>
                  <a:ext uri="{FF2B5EF4-FFF2-40B4-BE49-F238E27FC236}">
                    <a16:creationId xmlns:a16="http://schemas.microsoft.com/office/drawing/2014/main" id="{192146C8-EDDE-30F8-828A-F71BA9FCC78F}"/>
                  </a:ext>
                </a:extLst>
              </p:cNvPr>
              <p:cNvSpPr/>
              <p:nvPr/>
            </p:nvSpPr>
            <p:spPr>
              <a:xfrm flipH="1">
                <a:off x="4895465" y="3462460"/>
                <a:ext cx="114472" cy="108250"/>
              </a:xfrm>
              <a:prstGeom prst="flowChartOnlineStorage">
                <a:avLst/>
              </a:prstGeom>
              <a:solidFill>
                <a:srgbClr val="666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 anchorCtr="0"/>
              <a:lstStyle/>
              <a:p>
                <a:pPr algn="l"/>
                <a:endParaRPr lang="en-US"/>
              </a:p>
            </p:txBody>
          </p:sp>
          <p:sp>
            <p:nvSpPr>
              <p:cNvPr id="87" name="Flowchart: Delay 86">
                <a:extLst>
                  <a:ext uri="{FF2B5EF4-FFF2-40B4-BE49-F238E27FC236}">
                    <a16:creationId xmlns:a16="http://schemas.microsoft.com/office/drawing/2014/main" id="{FBEF94FC-1810-BD05-0F13-79F873D8AFDF}"/>
                  </a:ext>
                </a:extLst>
              </p:cNvPr>
              <p:cNvSpPr/>
              <p:nvPr/>
            </p:nvSpPr>
            <p:spPr>
              <a:xfrm>
                <a:off x="4902395" y="3317746"/>
                <a:ext cx="107541" cy="108250"/>
              </a:xfrm>
              <a:prstGeom prst="flowChartDelay">
                <a:avLst/>
              </a:prstGeom>
              <a:solidFill>
                <a:srgbClr val="666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 anchorCtr="0"/>
              <a:lstStyle/>
              <a:p>
                <a:pPr algn="l"/>
                <a:endParaRPr lang="en-US"/>
              </a:p>
            </p:txBody>
          </p:sp>
          <p:sp>
            <p:nvSpPr>
              <p:cNvPr id="88" name="Flowchart: Extract 87">
                <a:extLst>
                  <a:ext uri="{FF2B5EF4-FFF2-40B4-BE49-F238E27FC236}">
                    <a16:creationId xmlns:a16="http://schemas.microsoft.com/office/drawing/2014/main" id="{E7682F68-784E-B534-C969-EDDA43BA273E}"/>
                  </a:ext>
                </a:extLst>
              </p:cNvPr>
              <p:cNvSpPr/>
              <p:nvPr/>
            </p:nvSpPr>
            <p:spPr>
              <a:xfrm rot="5400000">
                <a:off x="4656433" y="3497298"/>
                <a:ext cx="104224" cy="97938"/>
              </a:xfrm>
              <a:prstGeom prst="flowChartExtract">
                <a:avLst/>
              </a:prstGeom>
              <a:solidFill>
                <a:srgbClr val="666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 anchorCtr="0"/>
              <a:lstStyle/>
              <a:p>
                <a:pPr algn="l"/>
                <a:endParaRPr lang="en-US"/>
              </a:p>
            </p:txBody>
          </p:sp>
          <p:cxnSp>
            <p:nvCxnSpPr>
              <p:cNvPr id="89" name="Straight Arrow Connector 88">
                <a:extLst>
                  <a:ext uri="{FF2B5EF4-FFF2-40B4-BE49-F238E27FC236}">
                    <a16:creationId xmlns:a16="http://schemas.microsoft.com/office/drawing/2014/main" id="{BBB23D57-6BD5-7F15-A398-2ABEF3CEDF0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06904" y="3547603"/>
                <a:ext cx="152672" cy="0"/>
              </a:xfrm>
              <a:prstGeom prst="straightConnector1">
                <a:avLst/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Arrow Connector 89">
                <a:extLst>
                  <a:ext uri="{FF2B5EF4-FFF2-40B4-BE49-F238E27FC236}">
                    <a16:creationId xmlns:a16="http://schemas.microsoft.com/office/drawing/2014/main" id="{16AA8E47-2EA2-AA7A-A2F0-B5C5E064CD2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731953" y="3346131"/>
                <a:ext cx="168988" cy="501"/>
              </a:xfrm>
              <a:prstGeom prst="straightConnector1">
                <a:avLst/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Arrow Connector 90">
                <a:extLst>
                  <a:ext uri="{FF2B5EF4-FFF2-40B4-BE49-F238E27FC236}">
                    <a16:creationId xmlns:a16="http://schemas.microsoft.com/office/drawing/2014/main" id="{27733037-8D41-A9FE-264A-4321C4D2275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757514" y="3547603"/>
                <a:ext cx="151912" cy="0"/>
              </a:xfrm>
              <a:prstGeom prst="straightConnector1">
                <a:avLst/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Arrow Connector 91">
                <a:extLst>
                  <a:ext uri="{FF2B5EF4-FFF2-40B4-BE49-F238E27FC236}">
                    <a16:creationId xmlns:a16="http://schemas.microsoft.com/office/drawing/2014/main" id="{33F4D2F9-0F6E-6F30-40F4-AE122ACB02C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21660" y="3362397"/>
                <a:ext cx="152672" cy="0"/>
              </a:xfrm>
              <a:prstGeom prst="straightConnector1">
                <a:avLst/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Connector: Elbow 92">
                <a:extLst>
                  <a:ext uri="{FF2B5EF4-FFF2-40B4-BE49-F238E27FC236}">
                    <a16:creationId xmlns:a16="http://schemas.microsoft.com/office/drawing/2014/main" id="{099F9519-2028-8720-64D6-2F303C14603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06904" y="3446061"/>
                <a:ext cx="398116" cy="39571"/>
              </a:xfrm>
              <a:prstGeom prst="bentConnector3">
                <a:avLst>
                  <a:gd name="adj1" fmla="val 50000"/>
                </a:avLst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Connector: Elbow 93">
                <a:extLst>
                  <a:ext uri="{FF2B5EF4-FFF2-40B4-BE49-F238E27FC236}">
                    <a16:creationId xmlns:a16="http://schemas.microsoft.com/office/drawing/2014/main" id="{BEF21698-F650-48CE-611D-5C45F369851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519192" y="3405210"/>
                <a:ext cx="373805" cy="39571"/>
              </a:xfrm>
              <a:prstGeom prst="bentConnector3">
                <a:avLst>
                  <a:gd name="adj1" fmla="val 69111"/>
                </a:avLst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95" name="Group 94">
                <a:extLst>
                  <a:ext uri="{FF2B5EF4-FFF2-40B4-BE49-F238E27FC236}">
                    <a16:creationId xmlns:a16="http://schemas.microsoft.com/office/drawing/2014/main" id="{FC61D00D-677B-06B2-3B4C-C4DE1467C3FC}"/>
                  </a:ext>
                </a:extLst>
              </p:cNvPr>
              <p:cNvGrpSpPr/>
              <p:nvPr/>
            </p:nvGrpSpPr>
            <p:grpSpPr>
              <a:xfrm>
                <a:off x="4674332" y="3315906"/>
                <a:ext cx="76669" cy="90024"/>
                <a:chOff x="4089313" y="3970630"/>
                <a:chExt cx="723484" cy="405704"/>
              </a:xfrm>
            </p:grpSpPr>
            <p:sp>
              <p:nvSpPr>
                <p:cNvPr id="96" name="Rectangle: Rounded Corners 95">
                  <a:extLst>
                    <a:ext uri="{FF2B5EF4-FFF2-40B4-BE49-F238E27FC236}">
                      <a16:creationId xmlns:a16="http://schemas.microsoft.com/office/drawing/2014/main" id="{CCE2491F-1FE6-3295-57E8-335E489E99C2}"/>
                    </a:ext>
                  </a:extLst>
                </p:cNvPr>
                <p:cNvSpPr/>
                <p:nvPr/>
              </p:nvSpPr>
              <p:spPr>
                <a:xfrm>
                  <a:off x="4089313" y="3970630"/>
                  <a:ext cx="723484" cy="405704"/>
                </a:xfrm>
                <a:prstGeom prst="roundRect">
                  <a:avLst>
                    <a:gd name="adj" fmla="val 0"/>
                  </a:avLst>
                </a:prstGeom>
                <a:solidFill>
                  <a:srgbClr val="6666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00" b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97" name="Isosceles Triangle 96">
                  <a:extLst>
                    <a:ext uri="{FF2B5EF4-FFF2-40B4-BE49-F238E27FC236}">
                      <a16:creationId xmlns:a16="http://schemas.microsoft.com/office/drawing/2014/main" id="{9ADA88B6-8DB1-B2AD-5A4B-7BE0C0D4BCF4}"/>
                    </a:ext>
                  </a:extLst>
                </p:cNvPr>
                <p:cNvSpPr/>
                <p:nvPr/>
              </p:nvSpPr>
              <p:spPr>
                <a:xfrm rot="5400000">
                  <a:off x="4069857" y="4203956"/>
                  <a:ext cx="191310" cy="125845"/>
                </a:xfrm>
                <a:prstGeom prst="triangle">
                  <a:avLst/>
                </a:prstGeom>
                <a:solidFill>
                  <a:srgbClr val="50007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72000" rIns="108000" bIns="72000" rtlCol="0" anchor="t" anchorCtr="0"/>
                <a:lstStyle/>
                <a:p>
                  <a:pPr algn="l"/>
                  <a:endParaRPr lang="en-US"/>
                </a:p>
              </p:txBody>
            </p:sp>
          </p:grpSp>
        </p:grpSp>
      </p:grpSp>
      <p:sp>
        <p:nvSpPr>
          <p:cNvPr id="98" name="Rectangle: Rounded Corners 97">
            <a:extLst>
              <a:ext uri="{FF2B5EF4-FFF2-40B4-BE49-F238E27FC236}">
                <a16:creationId xmlns:a16="http://schemas.microsoft.com/office/drawing/2014/main" id="{F59313A9-8E73-CFDF-553E-7AD1BF7D2991}"/>
              </a:ext>
            </a:extLst>
          </p:cNvPr>
          <p:cNvSpPr/>
          <p:nvPr/>
        </p:nvSpPr>
        <p:spPr>
          <a:xfrm>
            <a:off x="3204215" y="3707886"/>
            <a:ext cx="684448" cy="643627"/>
          </a:xfrm>
          <a:prstGeom prst="roundRect">
            <a:avLst/>
          </a:prstGeom>
          <a:solidFill>
            <a:srgbClr val="999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621A2F7E-EF83-275A-06A7-A6C97551400F}"/>
              </a:ext>
            </a:extLst>
          </p:cNvPr>
          <p:cNvGrpSpPr/>
          <p:nvPr/>
        </p:nvGrpSpPr>
        <p:grpSpPr>
          <a:xfrm>
            <a:off x="3230679" y="3781526"/>
            <a:ext cx="636030" cy="496346"/>
            <a:chOff x="4186001" y="3255872"/>
            <a:chExt cx="636030" cy="496346"/>
          </a:xfrm>
        </p:grpSpPr>
        <p:sp>
          <p:nvSpPr>
            <p:cNvPr id="100" name="Cloud 99">
              <a:extLst>
                <a:ext uri="{FF2B5EF4-FFF2-40B4-BE49-F238E27FC236}">
                  <a16:creationId xmlns:a16="http://schemas.microsoft.com/office/drawing/2014/main" id="{B18AC9AC-981A-78B2-0C99-361B63D290C6}"/>
                </a:ext>
              </a:extLst>
            </p:cNvPr>
            <p:cNvSpPr/>
            <p:nvPr/>
          </p:nvSpPr>
          <p:spPr>
            <a:xfrm>
              <a:off x="4186001" y="3255872"/>
              <a:ext cx="636030" cy="496346"/>
            </a:xfrm>
            <a:prstGeom prst="cloud">
              <a:avLst/>
            </a:prstGeom>
            <a:solidFill>
              <a:srgbClr val="CCCCD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en-US"/>
            </a:p>
          </p:txBody>
        </p: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EC240D40-D37B-3548-6104-29E42E39BBF0}"/>
                </a:ext>
              </a:extLst>
            </p:cNvPr>
            <p:cNvGrpSpPr/>
            <p:nvPr/>
          </p:nvGrpSpPr>
          <p:grpSpPr>
            <a:xfrm>
              <a:off x="4245769" y="3370919"/>
              <a:ext cx="485454" cy="287190"/>
              <a:chOff x="4506904" y="3315906"/>
              <a:chExt cx="503033" cy="282473"/>
            </a:xfrm>
          </p:grpSpPr>
          <p:sp>
            <p:nvSpPr>
              <p:cNvPr id="102" name="Flowchart: Stored Data 101">
                <a:extLst>
                  <a:ext uri="{FF2B5EF4-FFF2-40B4-BE49-F238E27FC236}">
                    <a16:creationId xmlns:a16="http://schemas.microsoft.com/office/drawing/2014/main" id="{091E41EF-5C8D-391D-C57E-56CAB492FD40}"/>
                  </a:ext>
                </a:extLst>
              </p:cNvPr>
              <p:cNvSpPr/>
              <p:nvPr/>
            </p:nvSpPr>
            <p:spPr>
              <a:xfrm flipH="1">
                <a:off x="4895465" y="3462460"/>
                <a:ext cx="114472" cy="108250"/>
              </a:xfrm>
              <a:prstGeom prst="flowChartOnlineStorage">
                <a:avLst/>
              </a:prstGeom>
              <a:solidFill>
                <a:srgbClr val="666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 anchorCtr="0"/>
              <a:lstStyle/>
              <a:p>
                <a:pPr algn="l"/>
                <a:endParaRPr lang="en-US"/>
              </a:p>
            </p:txBody>
          </p:sp>
          <p:sp>
            <p:nvSpPr>
              <p:cNvPr id="103" name="Flowchart: Delay 102">
                <a:extLst>
                  <a:ext uri="{FF2B5EF4-FFF2-40B4-BE49-F238E27FC236}">
                    <a16:creationId xmlns:a16="http://schemas.microsoft.com/office/drawing/2014/main" id="{06D3E774-39C8-9683-1FD0-3B7CAB44D8C9}"/>
                  </a:ext>
                </a:extLst>
              </p:cNvPr>
              <p:cNvSpPr/>
              <p:nvPr/>
            </p:nvSpPr>
            <p:spPr>
              <a:xfrm>
                <a:off x="4902395" y="3317746"/>
                <a:ext cx="107541" cy="108250"/>
              </a:xfrm>
              <a:prstGeom prst="flowChartDelay">
                <a:avLst/>
              </a:prstGeom>
              <a:solidFill>
                <a:srgbClr val="666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 anchorCtr="0"/>
              <a:lstStyle/>
              <a:p>
                <a:pPr algn="l"/>
                <a:endParaRPr lang="en-US"/>
              </a:p>
            </p:txBody>
          </p:sp>
          <p:sp>
            <p:nvSpPr>
              <p:cNvPr id="104" name="Flowchart: Extract 103">
                <a:extLst>
                  <a:ext uri="{FF2B5EF4-FFF2-40B4-BE49-F238E27FC236}">
                    <a16:creationId xmlns:a16="http://schemas.microsoft.com/office/drawing/2014/main" id="{C43EBEEF-B5A4-A882-DC99-5FF23B999871}"/>
                  </a:ext>
                </a:extLst>
              </p:cNvPr>
              <p:cNvSpPr/>
              <p:nvPr/>
            </p:nvSpPr>
            <p:spPr>
              <a:xfrm rot="5400000">
                <a:off x="4656433" y="3497298"/>
                <a:ext cx="104224" cy="97938"/>
              </a:xfrm>
              <a:prstGeom prst="flowChartExtract">
                <a:avLst/>
              </a:prstGeom>
              <a:solidFill>
                <a:srgbClr val="6666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8000" tIns="72000" rIns="108000" bIns="72000" rtlCol="0" anchor="t" anchorCtr="0"/>
              <a:lstStyle/>
              <a:p>
                <a:pPr algn="l"/>
                <a:endParaRPr lang="en-US"/>
              </a:p>
            </p:txBody>
          </p:sp>
          <p:cxnSp>
            <p:nvCxnSpPr>
              <p:cNvPr id="105" name="Straight Arrow Connector 104">
                <a:extLst>
                  <a:ext uri="{FF2B5EF4-FFF2-40B4-BE49-F238E27FC236}">
                    <a16:creationId xmlns:a16="http://schemas.microsoft.com/office/drawing/2014/main" id="{F81B0FDC-DE69-F1DC-AF7A-24773263F37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06904" y="3547603"/>
                <a:ext cx="152672" cy="0"/>
              </a:xfrm>
              <a:prstGeom prst="straightConnector1">
                <a:avLst/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Arrow Connector 105">
                <a:extLst>
                  <a:ext uri="{FF2B5EF4-FFF2-40B4-BE49-F238E27FC236}">
                    <a16:creationId xmlns:a16="http://schemas.microsoft.com/office/drawing/2014/main" id="{1343AD42-2DB9-FBFA-25BA-32F0E24CFDC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731953" y="3346131"/>
                <a:ext cx="168988" cy="501"/>
              </a:xfrm>
              <a:prstGeom prst="straightConnector1">
                <a:avLst/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Arrow Connector 106">
                <a:extLst>
                  <a:ext uri="{FF2B5EF4-FFF2-40B4-BE49-F238E27FC236}">
                    <a16:creationId xmlns:a16="http://schemas.microsoft.com/office/drawing/2014/main" id="{6F7204E7-61E8-1770-71AC-0B427DF790C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757514" y="3547603"/>
                <a:ext cx="151912" cy="0"/>
              </a:xfrm>
              <a:prstGeom prst="straightConnector1">
                <a:avLst/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Arrow Connector 107">
                <a:extLst>
                  <a:ext uri="{FF2B5EF4-FFF2-40B4-BE49-F238E27FC236}">
                    <a16:creationId xmlns:a16="http://schemas.microsoft.com/office/drawing/2014/main" id="{572FFC78-80B3-120D-E814-BB14D202BB5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21660" y="3362397"/>
                <a:ext cx="152672" cy="0"/>
              </a:xfrm>
              <a:prstGeom prst="straightConnector1">
                <a:avLst/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Connector: Elbow 108">
                <a:extLst>
                  <a:ext uri="{FF2B5EF4-FFF2-40B4-BE49-F238E27FC236}">
                    <a16:creationId xmlns:a16="http://schemas.microsoft.com/office/drawing/2014/main" id="{AE9739B1-C110-700E-7C1E-FEC4965492E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506904" y="3446061"/>
                <a:ext cx="398116" cy="39571"/>
              </a:xfrm>
              <a:prstGeom prst="bentConnector3">
                <a:avLst>
                  <a:gd name="adj1" fmla="val 50000"/>
                </a:avLst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Connector: Elbow 109">
                <a:extLst>
                  <a:ext uri="{FF2B5EF4-FFF2-40B4-BE49-F238E27FC236}">
                    <a16:creationId xmlns:a16="http://schemas.microsoft.com/office/drawing/2014/main" id="{52C8CFFC-95B8-608D-DA72-7A964CD9EA5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519192" y="3405210"/>
                <a:ext cx="373805" cy="39571"/>
              </a:xfrm>
              <a:prstGeom prst="bentConnector3">
                <a:avLst>
                  <a:gd name="adj1" fmla="val 69111"/>
                </a:avLst>
              </a:prstGeom>
              <a:ln w="0">
                <a:solidFill>
                  <a:srgbClr val="FF9000"/>
                </a:solidFill>
                <a:headEnd w="lg" len="lg"/>
                <a:tailEnd type="stealth" w="sm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11" name="Group 110">
                <a:extLst>
                  <a:ext uri="{FF2B5EF4-FFF2-40B4-BE49-F238E27FC236}">
                    <a16:creationId xmlns:a16="http://schemas.microsoft.com/office/drawing/2014/main" id="{14DDAE38-938E-AABD-D0EC-64441078BDA3}"/>
                  </a:ext>
                </a:extLst>
              </p:cNvPr>
              <p:cNvGrpSpPr/>
              <p:nvPr/>
            </p:nvGrpSpPr>
            <p:grpSpPr>
              <a:xfrm>
                <a:off x="4674332" y="3315906"/>
                <a:ext cx="76669" cy="90024"/>
                <a:chOff x="4089313" y="3970630"/>
                <a:chExt cx="723484" cy="405704"/>
              </a:xfrm>
            </p:grpSpPr>
            <p:sp>
              <p:nvSpPr>
                <p:cNvPr id="112" name="Rectangle: Rounded Corners 111">
                  <a:extLst>
                    <a:ext uri="{FF2B5EF4-FFF2-40B4-BE49-F238E27FC236}">
                      <a16:creationId xmlns:a16="http://schemas.microsoft.com/office/drawing/2014/main" id="{E98E2EBA-38B6-4E30-6ED3-0B7C85F8B30D}"/>
                    </a:ext>
                  </a:extLst>
                </p:cNvPr>
                <p:cNvSpPr/>
                <p:nvPr/>
              </p:nvSpPr>
              <p:spPr>
                <a:xfrm>
                  <a:off x="4089313" y="3970630"/>
                  <a:ext cx="723484" cy="405704"/>
                </a:xfrm>
                <a:prstGeom prst="roundRect">
                  <a:avLst>
                    <a:gd name="adj" fmla="val 0"/>
                  </a:avLst>
                </a:prstGeom>
                <a:solidFill>
                  <a:srgbClr val="6666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00" b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13" name="Isosceles Triangle 112">
                  <a:extLst>
                    <a:ext uri="{FF2B5EF4-FFF2-40B4-BE49-F238E27FC236}">
                      <a16:creationId xmlns:a16="http://schemas.microsoft.com/office/drawing/2014/main" id="{7C7CB4ED-5FDA-A2E4-FE12-7B27C31D8589}"/>
                    </a:ext>
                  </a:extLst>
                </p:cNvPr>
                <p:cNvSpPr/>
                <p:nvPr/>
              </p:nvSpPr>
              <p:spPr>
                <a:xfrm rot="5400000">
                  <a:off x="4069857" y="4203956"/>
                  <a:ext cx="191310" cy="125845"/>
                </a:xfrm>
                <a:prstGeom prst="triangle">
                  <a:avLst/>
                </a:prstGeom>
                <a:solidFill>
                  <a:srgbClr val="50007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08000" tIns="72000" rIns="108000" bIns="72000" rtlCol="0" anchor="t" anchorCtr="0"/>
                <a:lstStyle/>
                <a:p>
                  <a:pPr algn="l"/>
                  <a:endParaRPr lang="en-US"/>
                </a:p>
              </p:txBody>
            </p:sp>
          </p:grpSp>
        </p:grpSp>
      </p:grpSp>
      <p:cxnSp>
        <p:nvCxnSpPr>
          <p:cNvPr id="114" name="Connector: Elbow 113">
            <a:extLst>
              <a:ext uri="{FF2B5EF4-FFF2-40B4-BE49-F238E27FC236}">
                <a16:creationId xmlns:a16="http://schemas.microsoft.com/office/drawing/2014/main" id="{19B756E1-8EB2-D7A4-D9A5-E878273915CB}"/>
              </a:ext>
            </a:extLst>
          </p:cNvPr>
          <p:cNvCxnSpPr>
            <a:cxnSpLocks/>
            <a:stCxn id="84" idx="0"/>
          </p:cNvCxnSpPr>
          <p:nvPr/>
        </p:nvCxnSpPr>
        <p:spPr>
          <a:xfrm flipV="1">
            <a:off x="1623032" y="3781526"/>
            <a:ext cx="2926420" cy="276472"/>
          </a:xfrm>
          <a:prstGeom prst="bentConnector3">
            <a:avLst>
              <a:gd name="adj1" fmla="val 50000"/>
            </a:avLst>
          </a:prstGeom>
          <a:ln w="50800" cmpd="dbl">
            <a:solidFill>
              <a:srgbClr val="FF0000"/>
            </a:solidFill>
            <a:prstDash val="sysDash"/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TextBox 114">
            <a:extLst>
              <a:ext uri="{FF2B5EF4-FFF2-40B4-BE49-F238E27FC236}">
                <a16:creationId xmlns:a16="http://schemas.microsoft.com/office/drawing/2014/main" id="{E37159EE-A33F-3B8F-61B2-DBC0A80E5D02}"/>
              </a:ext>
            </a:extLst>
          </p:cNvPr>
          <p:cNvSpPr txBox="1"/>
          <p:nvPr/>
        </p:nvSpPr>
        <p:spPr>
          <a:xfrm>
            <a:off x="1059160" y="5177182"/>
            <a:ext cx="4182364" cy="553998"/>
          </a:xfrm>
          <a:prstGeom prst="rect">
            <a:avLst/>
          </a:prstGeom>
          <a:solidFill>
            <a:schemeClr val="tx1">
              <a:lumMod val="75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>
                <a:solidFill>
                  <a:srgbClr val="333353"/>
                </a:solidFill>
              </a:rPr>
              <a:t>do these paths exist, which violate the security datapath requirements?</a:t>
            </a:r>
          </a:p>
        </p:txBody>
      </p:sp>
      <p:sp>
        <p:nvSpPr>
          <p:cNvPr id="116" name="Rectangle: Rounded Corners 115">
            <a:extLst>
              <a:ext uri="{FF2B5EF4-FFF2-40B4-BE49-F238E27FC236}">
                <a16:creationId xmlns:a16="http://schemas.microsoft.com/office/drawing/2014/main" id="{A417E2F4-3CCA-E303-C970-D06938E62996}"/>
              </a:ext>
            </a:extLst>
          </p:cNvPr>
          <p:cNvSpPr/>
          <p:nvPr/>
        </p:nvSpPr>
        <p:spPr>
          <a:xfrm>
            <a:off x="1382372" y="3906583"/>
            <a:ext cx="264855" cy="313886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A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117" name="Rectangle: Rounded Corners 116">
            <a:extLst>
              <a:ext uri="{FF2B5EF4-FFF2-40B4-BE49-F238E27FC236}">
                <a16:creationId xmlns:a16="http://schemas.microsoft.com/office/drawing/2014/main" id="{04E8E21D-4B03-3602-90A2-4B6CF432535C}"/>
              </a:ext>
            </a:extLst>
          </p:cNvPr>
          <p:cNvSpPr/>
          <p:nvPr/>
        </p:nvSpPr>
        <p:spPr>
          <a:xfrm>
            <a:off x="4539613" y="3624583"/>
            <a:ext cx="264855" cy="313886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B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8" name="Rectangle: Rounded Corners 117">
            <a:extLst>
              <a:ext uri="{FF2B5EF4-FFF2-40B4-BE49-F238E27FC236}">
                <a16:creationId xmlns:a16="http://schemas.microsoft.com/office/drawing/2014/main" id="{92AA815B-946E-FE0E-DD50-64060CABFE7D}"/>
              </a:ext>
            </a:extLst>
          </p:cNvPr>
          <p:cNvSpPr/>
          <p:nvPr/>
        </p:nvSpPr>
        <p:spPr>
          <a:xfrm>
            <a:off x="736736" y="3970126"/>
            <a:ext cx="264855" cy="313886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CA</a:t>
            </a:r>
            <a:endParaRPr lang="en-US" sz="2800" dirty="0">
              <a:solidFill>
                <a:schemeClr val="tx1"/>
              </a:solidFill>
            </a:endParaRPr>
          </a:p>
        </p:txBody>
      </p:sp>
      <p:cxnSp>
        <p:nvCxnSpPr>
          <p:cNvPr id="119" name="Connector: Elbow 118">
            <a:extLst>
              <a:ext uri="{FF2B5EF4-FFF2-40B4-BE49-F238E27FC236}">
                <a16:creationId xmlns:a16="http://schemas.microsoft.com/office/drawing/2014/main" id="{857B0AA5-D897-A3F1-ECD2-D8DD42015FB8}"/>
              </a:ext>
            </a:extLst>
          </p:cNvPr>
          <p:cNvCxnSpPr>
            <a:cxnSpLocks/>
            <a:stCxn id="118" idx="3"/>
            <a:endCxn id="116" idx="1"/>
          </p:cNvCxnSpPr>
          <p:nvPr/>
        </p:nvCxnSpPr>
        <p:spPr>
          <a:xfrm flipV="1">
            <a:off x="1001591" y="4063526"/>
            <a:ext cx="380781" cy="63543"/>
          </a:xfrm>
          <a:prstGeom prst="bentConnector3">
            <a:avLst>
              <a:gd name="adj1" fmla="val 50000"/>
            </a:avLst>
          </a:prstGeom>
          <a:ln w="50800" cmpd="dbl">
            <a:solidFill>
              <a:srgbClr val="FF0000"/>
            </a:solidFill>
            <a:prstDash val="sysDash"/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Arrow Connector 119">
            <a:extLst>
              <a:ext uri="{FF2B5EF4-FFF2-40B4-BE49-F238E27FC236}">
                <a16:creationId xmlns:a16="http://schemas.microsoft.com/office/drawing/2014/main" id="{8E98F113-A190-C130-7075-6A813DDC0B82}"/>
              </a:ext>
            </a:extLst>
          </p:cNvPr>
          <p:cNvCxnSpPr>
            <a:cxnSpLocks/>
            <a:stCxn id="115" idx="0"/>
          </p:cNvCxnSpPr>
          <p:nvPr/>
        </p:nvCxnSpPr>
        <p:spPr>
          <a:xfrm flipH="1" flipV="1">
            <a:off x="1239401" y="4191011"/>
            <a:ext cx="1910941" cy="986171"/>
          </a:xfrm>
          <a:prstGeom prst="straightConnector1">
            <a:avLst/>
          </a:prstGeom>
          <a:ln w="9525">
            <a:solidFill>
              <a:srgbClr val="FF0000"/>
            </a:soli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Arrow Connector 120">
            <a:extLst>
              <a:ext uri="{FF2B5EF4-FFF2-40B4-BE49-F238E27FC236}">
                <a16:creationId xmlns:a16="http://schemas.microsoft.com/office/drawing/2014/main" id="{03307F9B-F693-BA39-4EA3-36E9B4C09971}"/>
              </a:ext>
            </a:extLst>
          </p:cNvPr>
          <p:cNvCxnSpPr>
            <a:cxnSpLocks/>
            <a:stCxn id="115" idx="0"/>
          </p:cNvCxnSpPr>
          <p:nvPr/>
        </p:nvCxnSpPr>
        <p:spPr>
          <a:xfrm flipH="1" flipV="1">
            <a:off x="2968288" y="4055899"/>
            <a:ext cx="182054" cy="1121283"/>
          </a:xfrm>
          <a:prstGeom prst="straightConnector1">
            <a:avLst/>
          </a:prstGeom>
          <a:ln w="9525">
            <a:solidFill>
              <a:srgbClr val="FF0000"/>
            </a:soli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Arrow Connector 121">
            <a:extLst>
              <a:ext uri="{FF2B5EF4-FFF2-40B4-BE49-F238E27FC236}">
                <a16:creationId xmlns:a16="http://schemas.microsoft.com/office/drawing/2014/main" id="{69DC8E4A-DCED-5872-BBC0-C5458107B3E7}"/>
              </a:ext>
            </a:extLst>
          </p:cNvPr>
          <p:cNvCxnSpPr>
            <a:cxnSpLocks/>
            <a:stCxn id="115" idx="0"/>
          </p:cNvCxnSpPr>
          <p:nvPr/>
        </p:nvCxnSpPr>
        <p:spPr>
          <a:xfrm flipV="1">
            <a:off x="3150342" y="3472037"/>
            <a:ext cx="767480" cy="1705145"/>
          </a:xfrm>
          <a:prstGeom prst="straightConnector1">
            <a:avLst/>
          </a:prstGeom>
          <a:ln w="9525">
            <a:solidFill>
              <a:srgbClr val="FF0000"/>
            </a:soli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Rectangle 4">
            <a:extLst>
              <a:ext uri="{FF2B5EF4-FFF2-40B4-BE49-F238E27FC236}">
                <a16:creationId xmlns:a16="http://schemas.microsoft.com/office/drawing/2014/main" id="{8F7E5BAF-399F-7577-5BD0-5ADBA7D66E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3213" y="1138450"/>
            <a:ext cx="5952785" cy="8720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kern="1400" dirty="0">
                <a:effectLst/>
                <a:latin typeface="+mj-lt"/>
                <a:ea typeface="Times New Roman" panose="02020603050405020304" pitchFamily="18" charset="0"/>
              </a:rPr>
              <a:t>Define paths that secure data should or should not traverse within certain design instances</a:t>
            </a:r>
            <a:endParaRPr lang="en-US" dirty="0">
              <a:latin typeface="+mj-lt"/>
            </a:endParaRPr>
          </a:p>
        </p:txBody>
      </p:sp>
      <p:pic>
        <p:nvPicPr>
          <p:cNvPr id="128" name="Picture 127">
            <a:extLst>
              <a:ext uri="{FF2B5EF4-FFF2-40B4-BE49-F238E27FC236}">
                <a16:creationId xmlns:a16="http://schemas.microsoft.com/office/drawing/2014/main" id="{7CBAB174-78EA-19CC-25C0-F528024B007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5040" y="1695446"/>
            <a:ext cx="5246560" cy="2795496"/>
          </a:xfrm>
          <a:prstGeom prst="rect">
            <a:avLst/>
          </a:prstGeom>
          <a:noFill/>
        </p:spPr>
      </p:pic>
      <p:grpSp>
        <p:nvGrpSpPr>
          <p:cNvPr id="127" name="Group 126">
            <a:extLst>
              <a:ext uri="{FF2B5EF4-FFF2-40B4-BE49-F238E27FC236}">
                <a16:creationId xmlns:a16="http://schemas.microsoft.com/office/drawing/2014/main" id="{F85643EA-AA9E-C130-519F-7B4C323FA732}"/>
              </a:ext>
            </a:extLst>
          </p:cNvPr>
          <p:cNvGrpSpPr/>
          <p:nvPr/>
        </p:nvGrpSpPr>
        <p:grpSpPr>
          <a:xfrm>
            <a:off x="5872224" y="3371255"/>
            <a:ext cx="2926420" cy="1369287"/>
            <a:chOff x="6066945" y="2861517"/>
            <a:chExt cx="2926420" cy="1369287"/>
          </a:xfrm>
        </p:grpSpPr>
        <p:sp>
          <p:nvSpPr>
            <p:cNvPr id="125" name="Oval 124">
              <a:extLst>
                <a:ext uri="{FF2B5EF4-FFF2-40B4-BE49-F238E27FC236}">
                  <a16:creationId xmlns:a16="http://schemas.microsoft.com/office/drawing/2014/main" id="{E70E7D7A-57F3-01A5-92D0-064BF87FF4F3}"/>
                </a:ext>
              </a:extLst>
            </p:cNvPr>
            <p:cNvSpPr/>
            <p:nvPr/>
          </p:nvSpPr>
          <p:spPr>
            <a:xfrm>
              <a:off x="6066945" y="2861517"/>
              <a:ext cx="2926420" cy="1369287"/>
            </a:xfrm>
            <a:prstGeom prst="ellipse">
              <a:avLst/>
            </a:prstGeom>
            <a:solidFill>
              <a:schemeClr val="accent1">
                <a:alpha val="42000"/>
              </a:schemeClr>
            </a:solidFill>
            <a:ln>
              <a:solidFill>
                <a:srgbClr val="FFD73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en-US" dirty="0"/>
            </a:p>
          </p:txBody>
        </p:sp>
        <p:pic>
          <p:nvPicPr>
            <p:cNvPr id="124" name="Picture 123">
              <a:extLst>
                <a:ext uri="{FF2B5EF4-FFF2-40B4-BE49-F238E27FC236}">
                  <a16:creationId xmlns:a16="http://schemas.microsoft.com/office/drawing/2014/main" id="{0B0CF26C-EB3B-F17D-A832-30E039D3C70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1274" r="70670" b="6042"/>
            <a:stretch/>
          </p:blipFill>
          <p:spPr bwMode="auto">
            <a:xfrm>
              <a:off x="6159198" y="2974225"/>
              <a:ext cx="2483892" cy="1023583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7675797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A59CE0-18CE-9447-F486-8403978474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Methodology Overview</a:t>
            </a:r>
            <a:br>
              <a:rPr lang="en-US" sz="2800" dirty="0"/>
            </a:br>
            <a:r>
              <a:rPr lang="en-US" b="0" dirty="0"/>
              <a:t>Datapath analysis</a:t>
            </a:r>
            <a:endParaRPr lang="en-US" sz="28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C9A97A-7CF3-D8E2-EC21-C4CB6F9DE30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Restricted | © Siemens 2024  Siemens Digital Industries Software 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CEF8F4BC-C61D-EB38-915E-7E49913713FA}"/>
              </a:ext>
            </a:extLst>
          </p:cNvPr>
          <p:cNvGrpSpPr/>
          <p:nvPr/>
        </p:nvGrpSpPr>
        <p:grpSpPr>
          <a:xfrm>
            <a:off x="324599" y="1412775"/>
            <a:ext cx="6171728" cy="4945465"/>
            <a:chOff x="324599" y="1412775"/>
            <a:chExt cx="6171728" cy="4945465"/>
          </a:xfrm>
        </p:grpSpPr>
        <p:sp>
          <p:nvSpPr>
            <p:cNvPr id="8" name="Richtungspfeil 14">
              <a:extLst>
                <a:ext uri="{FF2B5EF4-FFF2-40B4-BE49-F238E27FC236}">
                  <a16:creationId xmlns:a16="http://schemas.microsoft.com/office/drawing/2014/main" id="{CABC8283-76C5-F38A-B0FD-661BECBA7A2B}"/>
                </a:ext>
              </a:extLst>
            </p:cNvPr>
            <p:cNvSpPr/>
            <p:nvPr/>
          </p:nvSpPr>
          <p:spPr bwMode="auto">
            <a:xfrm>
              <a:off x="400259" y="1412776"/>
              <a:ext cx="3393819" cy="773737"/>
            </a:xfrm>
            <a:prstGeom prst="homePlate">
              <a:avLst>
                <a:gd name="adj" fmla="val 37199"/>
              </a:avLst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square" lIns="179906" tIns="0" rIns="179906" bIns="0" numCol="1" spcCol="72000" rtlCol="0" anchor="ctr" anchorCtr="0">
              <a:noAutofit/>
            </a:bodyPr>
            <a:lstStyle/>
            <a:p>
              <a:pPr lvl="0">
                <a:spcBef>
                  <a:spcPct val="0"/>
                </a:spcBef>
              </a:pPr>
              <a:endParaRPr lang="en-US" sz="1599" b="1" kern="1400">
                <a:solidFill>
                  <a:schemeClr val="bg1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9" name="Rechteck 21">
              <a:extLst>
                <a:ext uri="{FF2B5EF4-FFF2-40B4-BE49-F238E27FC236}">
                  <a16:creationId xmlns:a16="http://schemas.microsoft.com/office/drawing/2014/main" id="{6C8F4712-1FCF-3479-D45C-E790F1E5926E}"/>
                </a:ext>
              </a:extLst>
            </p:cNvPr>
            <p:cNvSpPr>
              <a:spLocks/>
            </p:cNvSpPr>
            <p:nvPr/>
          </p:nvSpPr>
          <p:spPr bwMode="gray">
            <a:xfrm>
              <a:off x="400258" y="1412775"/>
              <a:ext cx="2411181" cy="65746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828000" tIns="288000" rIns="0" bIns="0" rtlCol="0" anchor="t">
              <a:noAutofit/>
            </a:bodyPr>
            <a:lstStyle>
              <a:defPPr>
                <a:defRPr lang="de-DE"/>
              </a:defPPr>
              <a:lvl1pPr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9pPr>
            </a:lstStyle>
            <a:p>
              <a:pPr>
                <a:lnSpc>
                  <a:spcPct val="90000"/>
                </a:lnSpc>
                <a:spcBef>
                  <a:spcPts val="900"/>
                </a:spcBef>
                <a:spcAft>
                  <a:spcPts val="2150"/>
                </a:spcAft>
                <a:buClr>
                  <a:schemeClr val="accent1"/>
                </a:buClr>
              </a:pPr>
              <a:r>
                <a:rPr lang="en-US" b="1" dirty="0">
                  <a:solidFill>
                    <a:schemeClr val="bg1"/>
                  </a:solidFill>
                  <a:latin typeface="+mn-lt"/>
                </a:rPr>
                <a:t>Automation</a:t>
              </a:r>
            </a:p>
          </p:txBody>
        </p:sp>
        <p:pic>
          <p:nvPicPr>
            <p:cNvPr id="15" name="Graphic 14" descr="Touchscreen outline">
              <a:extLst>
                <a:ext uri="{FF2B5EF4-FFF2-40B4-BE49-F238E27FC236}">
                  <a16:creationId xmlns:a16="http://schemas.microsoft.com/office/drawing/2014/main" id="{DA85EFBB-B692-9DDD-75B8-E50C9952C88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00259" y="1497863"/>
              <a:ext cx="603561" cy="603561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65C212D9-B723-E981-1A29-3FFFC4B01738}"/>
                </a:ext>
              </a:extLst>
            </p:cNvPr>
            <p:cNvSpPr txBox="1"/>
            <p:nvPr/>
          </p:nvSpPr>
          <p:spPr>
            <a:xfrm>
              <a:off x="324599" y="2271600"/>
              <a:ext cx="6093724" cy="95564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lnSpc>
                  <a:spcPct val="90000"/>
                </a:lnSpc>
                <a:spcBef>
                  <a:spcPts val="9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18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</a:rPr>
                <a:t>Generate properties from high-level path specifications</a:t>
              </a:r>
            </a:p>
            <a:p>
              <a:pPr marL="285750" indent="-285750">
                <a:lnSpc>
                  <a:spcPct val="90000"/>
                </a:lnSpc>
                <a:spcBef>
                  <a:spcPts val="900"/>
                </a:spcBef>
                <a:buSzPct val="100000"/>
                <a:buFont typeface="Arial" panose="020B0604020202020204" pitchFamily="34" charset="0"/>
                <a:buChar char="•"/>
              </a:pPr>
              <a:r>
                <a:rPr lang="en-US" sz="18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</a:rPr>
                <a:t>Identify ports and black box signals subject to potential security issues</a:t>
              </a: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B4DEBABF-B0C0-0CE1-F1E1-B9556DD31C4A}"/>
                </a:ext>
              </a:extLst>
            </p:cNvPr>
            <p:cNvGrpSpPr/>
            <p:nvPr/>
          </p:nvGrpSpPr>
          <p:grpSpPr>
            <a:xfrm>
              <a:off x="400258" y="3438232"/>
              <a:ext cx="3393819" cy="773737"/>
              <a:chOff x="3739869" y="4822203"/>
              <a:chExt cx="3393819" cy="773737"/>
            </a:xfrm>
          </p:grpSpPr>
          <p:sp>
            <p:nvSpPr>
              <p:cNvPr id="21" name="Richtungspfeil 14">
                <a:extLst>
                  <a:ext uri="{FF2B5EF4-FFF2-40B4-BE49-F238E27FC236}">
                    <a16:creationId xmlns:a16="http://schemas.microsoft.com/office/drawing/2014/main" id="{F6491965-B00D-BD0E-711C-8E3889AA5A6B}"/>
                  </a:ext>
                </a:extLst>
              </p:cNvPr>
              <p:cNvSpPr/>
              <p:nvPr/>
            </p:nvSpPr>
            <p:spPr bwMode="auto">
              <a:xfrm>
                <a:off x="3739869" y="4822203"/>
                <a:ext cx="3393819" cy="773737"/>
              </a:xfrm>
              <a:prstGeom prst="homePlate">
                <a:avLst>
                  <a:gd name="adj" fmla="val 37199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wrap="square" lIns="179906" tIns="0" rIns="179906" bIns="0" numCol="1" spcCol="72000" rtlCol="0" anchor="ctr" anchorCtr="0">
                <a:noAutofit/>
              </a:bodyPr>
              <a:lstStyle/>
              <a:p>
                <a:pPr lvl="0">
                  <a:spcBef>
                    <a:spcPct val="0"/>
                  </a:spcBef>
                </a:pPr>
                <a:endParaRPr lang="en-US" sz="1599" b="1" kern="1400">
                  <a:solidFill>
                    <a:schemeClr val="bg1"/>
                  </a:solidFill>
                  <a:ea typeface="ＭＳ Ｐゴシック" pitchFamily="34" charset="-128"/>
                  <a:cs typeface="Arial" charset="0"/>
                </a:endParaRPr>
              </a:p>
            </p:txBody>
          </p:sp>
          <p:pic>
            <p:nvPicPr>
              <p:cNvPr id="20" name="Graphic 19" descr="Gauge with solid fill">
                <a:extLst>
                  <a:ext uri="{FF2B5EF4-FFF2-40B4-BE49-F238E27FC236}">
                    <a16:creationId xmlns:a16="http://schemas.microsoft.com/office/drawing/2014/main" id="{FE8E23A8-5AF0-95F5-5429-8AAE96696FE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3862192" y="4944337"/>
                <a:ext cx="529467" cy="529467"/>
              </a:xfrm>
              <a:prstGeom prst="rect">
                <a:avLst/>
              </a:prstGeom>
            </p:spPr>
          </p:pic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8B789713-7882-8EF8-88AC-015D168840F9}"/>
                  </a:ext>
                </a:extLst>
              </p:cNvPr>
              <p:cNvSpPr txBox="1"/>
              <p:nvPr/>
            </p:nvSpPr>
            <p:spPr>
              <a:xfrm>
                <a:off x="4490311" y="5052358"/>
                <a:ext cx="2125316" cy="3416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900"/>
                  </a:spcBef>
                  <a:spcAft>
                    <a:spcPts val="2150"/>
                  </a:spcAft>
                  <a:buClr>
                    <a:schemeClr val="accent1"/>
                  </a:buClr>
                </a:pPr>
                <a:r>
                  <a:rPr lang="en-US" b="1" dirty="0">
                    <a:solidFill>
                      <a:schemeClr val="bg1"/>
                    </a:solidFill>
                    <a:latin typeface="+mn-lt"/>
                  </a:rPr>
                  <a:t>Exhaustiveness</a:t>
                </a:r>
              </a:p>
            </p:txBody>
          </p:sp>
        </p:grpSp>
        <p:sp>
          <p:nvSpPr>
            <p:cNvPr id="24" name="Richtungspfeil 14">
              <a:extLst>
                <a:ext uri="{FF2B5EF4-FFF2-40B4-BE49-F238E27FC236}">
                  <a16:creationId xmlns:a16="http://schemas.microsoft.com/office/drawing/2014/main" id="{43ADBD69-D283-F591-3C40-875EB4208B90}"/>
                </a:ext>
              </a:extLst>
            </p:cNvPr>
            <p:cNvSpPr/>
            <p:nvPr/>
          </p:nvSpPr>
          <p:spPr bwMode="auto">
            <a:xfrm>
              <a:off x="429899" y="4883586"/>
              <a:ext cx="3393819" cy="698965"/>
            </a:xfrm>
            <a:prstGeom prst="homePlate">
              <a:avLst>
                <a:gd name="adj" fmla="val 37199"/>
              </a:avLst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wrap="square" lIns="179906" tIns="0" rIns="179906" bIns="0" numCol="1" spcCol="72000" rtlCol="0" anchor="ctr" anchorCtr="0">
              <a:noAutofit/>
            </a:bodyPr>
            <a:lstStyle/>
            <a:p>
              <a:pPr lvl="0">
                <a:spcBef>
                  <a:spcPct val="0"/>
                </a:spcBef>
              </a:pPr>
              <a:endParaRPr lang="en-US" sz="1599" b="1" kern="1400">
                <a:solidFill>
                  <a:schemeClr val="bg1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392598B6-F7BC-6EAD-B4DE-02CD7AA8020C}"/>
                </a:ext>
              </a:extLst>
            </p:cNvPr>
            <p:cNvSpPr txBox="1"/>
            <p:nvPr/>
          </p:nvSpPr>
          <p:spPr>
            <a:xfrm>
              <a:off x="1109756" y="5058018"/>
              <a:ext cx="2125316" cy="3416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  <a:spcBef>
                  <a:spcPts val="900"/>
                </a:spcBef>
                <a:spcAft>
                  <a:spcPts val="2150"/>
                </a:spcAft>
                <a:buClr>
                  <a:schemeClr val="accent1"/>
                </a:buClr>
              </a:pPr>
              <a:r>
                <a:rPr lang="en-US" b="1" dirty="0">
                  <a:solidFill>
                    <a:schemeClr val="bg1"/>
                  </a:solidFill>
                  <a:latin typeface="+mn-lt"/>
                </a:rPr>
                <a:t>Debug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43224EBE-A437-203B-2DF4-8D8B91153B93}"/>
                </a:ext>
              </a:extLst>
            </p:cNvPr>
            <p:cNvSpPr txBox="1"/>
            <p:nvPr/>
          </p:nvSpPr>
          <p:spPr>
            <a:xfrm>
              <a:off x="400258" y="4352922"/>
              <a:ext cx="6093724" cy="3416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80885" indent="-180885">
                <a:lnSpc>
                  <a:spcPct val="90000"/>
                </a:lnSpc>
                <a:spcBef>
                  <a:spcPts val="9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8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</a:rPr>
                <a:t>Run path analysis with cutting-edge formal methods</a:t>
              </a:r>
            </a:p>
          </p:txBody>
        </p:sp>
        <p:pic>
          <p:nvPicPr>
            <p:cNvPr id="30" name="Graphic 29" descr="Bullseye with solid fill">
              <a:extLst>
                <a:ext uri="{FF2B5EF4-FFF2-40B4-BE49-F238E27FC236}">
                  <a16:creationId xmlns:a16="http://schemas.microsoft.com/office/drawing/2014/main" id="{09AC7288-1CBB-D290-6BE7-CCD53AE9E37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29899" y="4926387"/>
              <a:ext cx="651199" cy="651199"/>
            </a:xfrm>
            <a:prstGeom prst="rect">
              <a:avLst/>
            </a:prstGeom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D8C302E9-A118-61E7-7C74-C82D451D3C4B}"/>
                </a:ext>
              </a:extLst>
            </p:cNvPr>
            <p:cNvSpPr txBox="1"/>
            <p:nvPr/>
          </p:nvSpPr>
          <p:spPr>
            <a:xfrm>
              <a:off x="402603" y="5651893"/>
              <a:ext cx="6093724" cy="70634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80340" indent="-180340">
                <a:lnSpc>
                  <a:spcPct val="90000"/>
                </a:lnSpc>
                <a:spcBef>
                  <a:spcPts val="9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8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</a:rPr>
                <a:t>Pinpoint debug of vulnerable paths</a:t>
              </a:r>
            </a:p>
            <a:p>
              <a:pPr marL="180340" indent="-180340">
                <a:lnSpc>
                  <a:spcPct val="90000"/>
                </a:lnSpc>
                <a:spcBef>
                  <a:spcPts val="9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</a:pPr>
              <a:r>
                <a:rPr lang="en-US" sz="18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</a:rPr>
                <a:t>Root cause identification with waveform analysis  </a:t>
              </a:r>
              <a:endPara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/>
              </a:endParaRP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36CA0D18-75B5-B9D4-6EE6-A5248F7B928B}"/>
              </a:ext>
            </a:extLst>
          </p:cNvPr>
          <p:cNvSpPr txBox="1"/>
          <p:nvPr/>
        </p:nvSpPr>
        <p:spPr>
          <a:xfrm>
            <a:off x="6973504" y="709906"/>
            <a:ext cx="4818237" cy="8720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kern="1400" dirty="0">
                <a:effectLst/>
                <a:latin typeface="+mj-lt"/>
                <a:ea typeface="Times New Roman" panose="02020603050405020304" pitchFamily="18" charset="0"/>
              </a:rPr>
              <a:t>Questa Verify Secure (QVS) is a formal app for running exhaustive datapath analyses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66E10AC6-846C-D305-7355-72D087BCAED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5040" y="1695446"/>
            <a:ext cx="5246560" cy="2795496"/>
          </a:xfrm>
          <a:prstGeom prst="rect">
            <a:avLst/>
          </a:prstGeom>
          <a:noFill/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BB1E1246-9289-D302-4BC0-1F2D1D0F08D6}"/>
              </a:ext>
            </a:extLst>
          </p:cNvPr>
          <p:cNvGrpSpPr/>
          <p:nvPr/>
        </p:nvGrpSpPr>
        <p:grpSpPr>
          <a:xfrm>
            <a:off x="8343212" y="2945793"/>
            <a:ext cx="2739032" cy="2310727"/>
            <a:chOff x="8452132" y="3142408"/>
            <a:chExt cx="2739032" cy="2310727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1C28C5D7-53BF-8051-4E17-F2B6B429B914}"/>
                </a:ext>
              </a:extLst>
            </p:cNvPr>
            <p:cNvSpPr/>
            <p:nvPr/>
          </p:nvSpPr>
          <p:spPr>
            <a:xfrm>
              <a:off x="8452132" y="3142408"/>
              <a:ext cx="2739032" cy="2310727"/>
            </a:xfrm>
            <a:prstGeom prst="ellipse">
              <a:avLst/>
            </a:prstGeom>
            <a:solidFill>
              <a:schemeClr val="accent1">
                <a:alpha val="42000"/>
              </a:schemeClr>
            </a:solidFill>
            <a:ln>
              <a:solidFill>
                <a:srgbClr val="FFD73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t" anchorCtr="0"/>
            <a:lstStyle/>
            <a:p>
              <a:pPr algn="l"/>
              <a:endParaRPr lang="en-US" dirty="0"/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10661146-0797-F038-9F56-5C8B21CA0C5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6311" t="60093" r="25746" b="6197"/>
            <a:stretch/>
          </p:blipFill>
          <p:spPr bwMode="auto">
            <a:xfrm>
              <a:off x="8761862" y="3429000"/>
              <a:ext cx="2429302" cy="1561527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22986707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A59CE0-18CE-9447-F486-8403978474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Application on </a:t>
            </a:r>
            <a:r>
              <a:rPr lang="en-US" sz="2800" dirty="0" err="1"/>
              <a:t>OpenTitan</a:t>
            </a:r>
            <a:endParaRPr lang="en-US" sz="28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C9A97A-7CF3-D8E2-EC21-C4CB6F9DE30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Restricted | © Siemens 2024  Siemens Digital Industries Software 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ED750394-80C0-8125-9319-47BEFF1B59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6350" y="1239553"/>
            <a:ext cx="7125119" cy="40631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285750" marR="0" lvl="0" indent="-28575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RTL sources @ </a:t>
            </a:r>
            <a:r>
              <a:rPr lang="en-US" kern="1400" dirty="0">
                <a:effectLst/>
                <a:hlinkClick r:id="rId3"/>
              </a:rPr>
              <a:t>https://opentitan.org</a:t>
            </a:r>
            <a:endParaRPr lang="en-US" kern="1400" dirty="0">
              <a:effectLst/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Focused on </a:t>
            </a:r>
            <a:r>
              <a:rPr kumimoji="0" lang="en-US" altLang="en-US" b="0" i="1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chip_earlgrey_asic</a:t>
            </a:r>
            <a:r>
              <a:rPr kumimoji="0" lang="en-US" altLang="en-US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version with </a:t>
            </a:r>
            <a:r>
              <a:rPr kumimoji="0" lang="en-US" altLang="en-US" b="0" i="1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top_earlgrey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module</a:t>
            </a:r>
          </a:p>
          <a:p>
            <a:pPr marL="285750" marR="0" lvl="0" indent="-28575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u="sng" dirty="0">
                <a:latin typeface="Arial" panose="020B0604020202020204" pitchFamily="34" charset="0"/>
              </a:rPr>
              <a:t>Architecture exploration </a:t>
            </a:r>
          </a:p>
          <a:p>
            <a:pPr marL="742950" lvl="1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</a:rPr>
              <a:t>Used Questa Analyze Architecture to explore the architecture of </a:t>
            </a:r>
            <a:r>
              <a:rPr lang="en-US" dirty="0" err="1">
                <a:latin typeface="Arial" panose="020B0604020202020204" pitchFamily="34" charset="0"/>
              </a:rPr>
              <a:t>OpenTitan</a:t>
            </a:r>
            <a:r>
              <a:rPr lang="en-US" dirty="0">
                <a:latin typeface="Arial" panose="020B0604020202020204" pitchFamily="34" charset="0"/>
              </a:rPr>
              <a:t> with a focus on AES and OTBN modules</a:t>
            </a:r>
          </a:p>
          <a:p>
            <a:pPr marL="742950" lvl="1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</a:rPr>
              <a:t>Outcome is a list of design instances that have potential dependency on the data from AES and OTBN instances</a:t>
            </a:r>
          </a:p>
          <a:p>
            <a:pPr marL="285750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600" u="sng" dirty="0">
                <a:latin typeface="Arial" panose="020B0604020202020204" pitchFamily="34" charset="0"/>
              </a:rPr>
              <a:t>Path analysis</a:t>
            </a:r>
          </a:p>
          <a:p>
            <a:pPr marL="742950" lvl="1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</a:rPr>
              <a:t>Specified paths from AES and OTBN secure data ports to all instances connected to the TL-UL Crossba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DFD562B-FED1-D5FE-7731-870BAEF7551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14" t="21664" r="10533" b="12065"/>
          <a:stretch/>
        </p:blipFill>
        <p:spPr>
          <a:xfrm>
            <a:off x="7421469" y="1716865"/>
            <a:ext cx="4615736" cy="342426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id="{FC14528A-C9AA-4657-3C88-2036051DCB26}"/>
              </a:ext>
            </a:extLst>
          </p:cNvPr>
          <p:cNvSpPr/>
          <p:nvPr/>
        </p:nvSpPr>
        <p:spPr>
          <a:xfrm>
            <a:off x="7533564" y="3655616"/>
            <a:ext cx="614149" cy="807202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073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heme/theme1.xml><?xml version="1.0" encoding="utf-8"?>
<a:theme xmlns:a="http://schemas.openxmlformats.org/drawingml/2006/main" name="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iemens_ICVS_2021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Siemens_ICVS_2021" id="{E91BED94-3345-420A-9617-F20678DF05A4}" vid="{96EFD359-045E-4557-ACB8-55343ECC2B17}"/>
    </a:ext>
  </a:extLst>
</a:theme>
</file>

<file path=ppt/theme/theme3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7881BDB407DAF4AA2967D11888F1857" ma:contentTypeVersion="2" ma:contentTypeDescription="Create a new document." ma:contentTypeScope="" ma:versionID="61fc71a519b473c1315c80cf5a2603be">
  <xsd:schema xmlns:xsd="http://www.w3.org/2001/XMLSchema" xmlns:xs="http://www.w3.org/2001/XMLSchema" xmlns:p="http://schemas.microsoft.com/office/2006/metadata/properties" xmlns:ns2="827b8395-bf99-4355-acd0-4ba4826bc7c6" targetNamespace="http://schemas.microsoft.com/office/2006/metadata/properties" ma:root="true" ma:fieldsID="7148758f4077cbc25b04e005f8ddd7e9" ns2:_="">
    <xsd:import namespace="827b8395-bf99-4355-acd0-4ba4826bc7c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27b8395-bf99-4355-acd0-4ba4826bc7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4ppTags>
  <Name>Two columns</Name>
  <PpLayout>29</PpLayout>
  <Index>12</Index>
</p4ppTags>
</file>

<file path=customXml/itemProps1.xml><?xml version="1.0" encoding="utf-8"?>
<ds:datastoreItem xmlns:ds="http://schemas.openxmlformats.org/officeDocument/2006/customXml" ds:itemID="{421F6CFA-FDBD-405D-840A-C219764D04F7}">
  <ds:schemaRefs>
    <ds:schemaRef ds:uri="e720c34e-808b-403e-851c-465aa2034a8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91A2588-A98D-4658-8952-91EBF0F2B3C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74E8C06-4319-471D-B80A-D8AE0B96079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27b8395-bf99-4355-acd0-4ba4826bc7c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26243F2A-5148-4D29-9637-483991916F16}">
  <ds:schemaRefs/>
</ds:datastoreItem>
</file>

<file path=docMetadata/LabelInfo.xml><?xml version="1.0" encoding="utf-8"?>
<clbl:labelList xmlns:clbl="http://schemas.microsoft.com/office/2020/mipLabelMetadata">
  <clbl:label id="{9d258917-277f-42cd-a3cd-14c4e9ee58bc}" enabled="1" method="Privileged" siteId="{38ae3bcd-9579-4fd4-adda-b42e1495d55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9145</TotalTime>
  <Words>1465</Words>
  <Application>Microsoft Office PowerPoint</Application>
  <PresentationFormat>Widescreen</PresentationFormat>
  <Paragraphs>275</Paragraphs>
  <Slides>15</Slides>
  <Notes>11</Notes>
  <HiddenSlides>1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MS PGothic</vt:lpstr>
      <vt:lpstr>Arial</vt:lpstr>
      <vt:lpstr>Arial Unicode MS</vt:lpstr>
      <vt:lpstr>Wingdings</vt:lpstr>
      <vt:lpstr>Siemens 2020</vt:lpstr>
      <vt:lpstr>Siemens_ICVS_2021</vt:lpstr>
      <vt:lpstr>think-cell Slide</vt:lpstr>
      <vt:lpstr>Ensuring Datapath Integrity and Adherence  with Formal Security Verification  in RISC-V Implementation</vt:lpstr>
      <vt:lpstr>Importance of Hardware Security Crucial to thoroughly verify hardware security features</vt:lpstr>
      <vt:lpstr>Security Verification Challenges</vt:lpstr>
      <vt:lpstr>OpenTitan</vt:lpstr>
      <vt:lpstr>Methodology Overview Formal-based solution</vt:lpstr>
      <vt:lpstr>Methodology Overview Design partitioning through architecture exploration</vt:lpstr>
      <vt:lpstr>Methodology Overview Datapath specification</vt:lpstr>
      <vt:lpstr>Methodology Overview Datapath analysis</vt:lpstr>
      <vt:lpstr>Application on OpenTitan</vt:lpstr>
      <vt:lpstr>Application on OpenTitan: AES instance</vt:lpstr>
      <vt:lpstr>Application on OpenTitan: AES instance</vt:lpstr>
      <vt:lpstr>Application on OpenTitan: AES instance (with QAA)</vt:lpstr>
      <vt:lpstr>Application on OpenTitan: AES instance (with QAA)</vt:lpstr>
      <vt:lpstr>Summary</vt:lpstr>
      <vt:lpstr>Datapath requirements in Secure desig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AG PowerPoint Presentation</dc:title>
  <dc:creator>Seiler, John (DI SW HR COMP)</dc:creator>
  <cp:keywords>Template;C_Unrestricted</cp:keywords>
  <dc:description>Version 3.0.8
September 2020</dc:description>
  <cp:lastModifiedBy>Devraj, Keerthi (DI SW ICS DVT CSF DV FS)</cp:lastModifiedBy>
  <cp:revision>148</cp:revision>
  <cp:lastPrinted>2021-03-26T22:33:31Z</cp:lastPrinted>
  <dcterms:created xsi:type="dcterms:W3CDTF">2020-07-27T12:43:17Z</dcterms:created>
  <dcterms:modified xsi:type="dcterms:W3CDTF">2024-06-07T22:36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 Confidentiality">
    <vt:lpwstr>Unrestricted</vt:lpwstr>
  </property>
  <property fmtid="{D5CDD505-2E9C-101B-9397-08002B2CF9AE}" pid="3" name="sodocoClasLang">
    <vt:lpwstr>Unrestricted</vt:lpwstr>
  </property>
  <property fmtid="{D5CDD505-2E9C-101B-9397-08002B2CF9AE}" pid="4" name="sodocoClasLangId">
    <vt:i4>0</vt:i4>
  </property>
  <property fmtid="{D5CDD505-2E9C-101B-9397-08002B2CF9AE}" pid="5" name="sodocoClasId">
    <vt:i4>0</vt:i4>
  </property>
  <property fmtid="{D5CDD505-2E9C-101B-9397-08002B2CF9AE}" pid="6" name="ContentTypeId">
    <vt:lpwstr>0x010100E7881BDB407DAF4AA2967D11888F1857</vt:lpwstr>
  </property>
  <property fmtid="{D5CDD505-2E9C-101B-9397-08002B2CF9AE}" pid="7" name="MSIP_Label_9d258917-277f-42cd-a3cd-14c4e9ee58bc_Enabled">
    <vt:lpwstr>true</vt:lpwstr>
  </property>
  <property fmtid="{D5CDD505-2E9C-101B-9397-08002B2CF9AE}" pid="8" name="MSIP_Label_9d258917-277f-42cd-a3cd-14c4e9ee58bc_SetDate">
    <vt:lpwstr>2023-01-19T15:41:00Z</vt:lpwstr>
  </property>
  <property fmtid="{D5CDD505-2E9C-101B-9397-08002B2CF9AE}" pid="9" name="MSIP_Label_9d258917-277f-42cd-a3cd-14c4e9ee58bc_Method">
    <vt:lpwstr>Privileged</vt:lpwstr>
  </property>
  <property fmtid="{D5CDD505-2E9C-101B-9397-08002B2CF9AE}" pid="10" name="MSIP_Label_9d258917-277f-42cd-a3cd-14c4e9ee58bc_Name">
    <vt:lpwstr>restricted</vt:lpwstr>
  </property>
  <property fmtid="{D5CDD505-2E9C-101B-9397-08002B2CF9AE}" pid="11" name="MSIP_Label_9d258917-277f-42cd-a3cd-14c4e9ee58bc_SiteId">
    <vt:lpwstr>38ae3bcd-9579-4fd4-adda-b42e1495d55a</vt:lpwstr>
  </property>
  <property fmtid="{D5CDD505-2E9C-101B-9397-08002B2CF9AE}" pid="12" name="MSIP_Label_9d258917-277f-42cd-a3cd-14c4e9ee58bc_ActionId">
    <vt:lpwstr>28304dd8-c859-434e-bc51-3c67bd5b7181</vt:lpwstr>
  </property>
  <property fmtid="{D5CDD505-2E9C-101B-9397-08002B2CF9AE}" pid="13" name="MSIP_Label_9d258917-277f-42cd-a3cd-14c4e9ee58bc_ContentBits">
    <vt:lpwstr>0</vt:lpwstr>
  </property>
</Properties>
</file>